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5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9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7" r:id="rId2"/>
  </p:sldMasterIdLst>
  <p:notesMasterIdLst>
    <p:notesMasterId r:id="rId44"/>
  </p:notesMasterIdLst>
  <p:sldIdLst>
    <p:sldId id="1060" r:id="rId3"/>
    <p:sldId id="1175" r:id="rId4"/>
    <p:sldId id="12538968" r:id="rId5"/>
    <p:sldId id="9268" r:id="rId6"/>
    <p:sldId id="9269" r:id="rId7"/>
    <p:sldId id="9271" r:id="rId8"/>
    <p:sldId id="12538996" r:id="rId9"/>
    <p:sldId id="12538969" r:id="rId10"/>
    <p:sldId id="12538970" r:id="rId11"/>
    <p:sldId id="12538971" r:id="rId12"/>
    <p:sldId id="12538974" r:id="rId13"/>
    <p:sldId id="12538986" r:id="rId14"/>
    <p:sldId id="12538985" r:id="rId15"/>
    <p:sldId id="9167" r:id="rId16"/>
    <p:sldId id="9169" r:id="rId17"/>
    <p:sldId id="9173" r:id="rId18"/>
    <p:sldId id="9174" r:id="rId19"/>
    <p:sldId id="9175" r:id="rId20"/>
    <p:sldId id="12538988" r:id="rId21"/>
    <p:sldId id="12538989" r:id="rId22"/>
    <p:sldId id="12538990" r:id="rId23"/>
    <p:sldId id="12538991" r:id="rId24"/>
    <p:sldId id="9176" r:id="rId25"/>
    <p:sldId id="12538992" r:id="rId26"/>
    <p:sldId id="12538993" r:id="rId27"/>
    <p:sldId id="12538995" r:id="rId28"/>
    <p:sldId id="9178" r:id="rId29"/>
    <p:sldId id="9184" r:id="rId30"/>
    <p:sldId id="9187" r:id="rId31"/>
    <p:sldId id="9194" r:id="rId32"/>
    <p:sldId id="9195" r:id="rId33"/>
    <p:sldId id="9196" r:id="rId34"/>
    <p:sldId id="9197" r:id="rId35"/>
    <p:sldId id="9198" r:id="rId36"/>
    <p:sldId id="9199" r:id="rId37"/>
    <p:sldId id="9188" r:id="rId38"/>
    <p:sldId id="9189" r:id="rId39"/>
    <p:sldId id="9190" r:id="rId40"/>
    <p:sldId id="9191" r:id="rId41"/>
    <p:sldId id="9192" r:id="rId42"/>
    <p:sldId id="9183" r:id="rId4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i,Wei" initials="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37"/>
    <p:restoredTop sz="87711" autoAdjust="0"/>
  </p:normalViewPr>
  <p:slideViewPr>
    <p:cSldViewPr snapToGrid="0">
      <p:cViewPr>
        <p:scale>
          <a:sx n="80" d="100"/>
          <a:sy n="80" d="100"/>
        </p:scale>
        <p:origin x="1896" y="5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5" d="100"/>
        <a:sy n="15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1#5">
  <dgm:title val=""/>
  <dgm:desc val=""/>
  <dgm:catLst>
    <dgm:cat type="accent1" pri="11100"/>
  </dgm:catLst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#1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0F0170-C521-4543-AF17-C2C748B9799C}" type="doc">
      <dgm:prSet loTypeId="urn:microsoft.com/office/officeart/2005/8/layout/process5" loCatId="process" qsTypeId="urn:microsoft.com/office/officeart/2005/8/quickstyle/3d2#2" qsCatId="3D" csTypeId="urn:microsoft.com/office/officeart/2005/8/colors/colorful2" csCatId="colorful" phldr="1"/>
      <dgm:spPr/>
    </dgm:pt>
    <dgm:pt modelId="{3654FBB0-52ED-48FA-B759-064DE891E66B}">
      <dgm:prSet phldrT="[文本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1800" b="1" dirty="0">
              <a:latin typeface="微软雅黑" pitchFamily="34" charset="-122"/>
              <a:ea typeface="微软雅黑" pitchFamily="34" charset="-122"/>
            </a:rPr>
            <a:t>需求</a:t>
          </a:r>
        </a:p>
      </dgm:t>
    </dgm:pt>
    <dgm:pt modelId="{0B1BA208-F3A6-4BFA-AA3B-3BDB9AF83AE5}" type="parTrans" cxnId="{64018D02-2B45-4ED0-8D33-6ED957D929A2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DB6516B5-D152-40FE-9B20-C25DBDC3F3E7}" type="sibTrans" cxnId="{64018D02-2B45-4ED0-8D33-6ED957D929A2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0F47DA10-D1D7-4D10-B742-DFB9763DB21A}">
      <dgm:prSet phldrT="[文本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1800" b="1" dirty="0">
              <a:latin typeface="微软雅黑" pitchFamily="34" charset="-122"/>
              <a:ea typeface="微软雅黑" pitchFamily="34" charset="-122"/>
            </a:rPr>
            <a:t>设计</a:t>
          </a:r>
          <a:r>
            <a:rPr lang="en-US" altLang="zh-CN" sz="1800" b="1" dirty="0">
              <a:latin typeface="微软雅黑" pitchFamily="34" charset="-122"/>
              <a:ea typeface="微软雅黑" pitchFamily="34" charset="-122"/>
            </a:rPr>
            <a:t>&amp;</a:t>
          </a:r>
          <a:r>
            <a:rPr lang="zh-CN" altLang="en-US" sz="1800" b="1" dirty="0">
              <a:latin typeface="微软雅黑" pitchFamily="34" charset="-122"/>
              <a:ea typeface="微软雅黑" pitchFamily="34" charset="-122"/>
            </a:rPr>
            <a:t>开发</a:t>
          </a:r>
        </a:p>
      </dgm:t>
    </dgm:pt>
    <dgm:pt modelId="{C6D6F96C-0354-440E-8B4C-30F7393CE7B5}" type="parTrans" cxnId="{B6581B14-0A1E-4F31-AE6B-BA3482052DB4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B748EDC1-1337-4073-9F28-59C4653B560F}" type="sibTrans" cxnId="{B6581B14-0A1E-4F31-AE6B-BA3482052DB4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4E8C170A-FDA9-4781-A23C-9CBB2C8BBE05}">
      <dgm:prSet phldrT="[文本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1800" b="1" dirty="0">
              <a:latin typeface="微软雅黑" pitchFamily="34" charset="-122"/>
              <a:ea typeface="微软雅黑" pitchFamily="34" charset="-122"/>
            </a:rPr>
            <a:t>测试</a:t>
          </a:r>
        </a:p>
      </dgm:t>
    </dgm:pt>
    <dgm:pt modelId="{44EB9C8E-4249-4CC6-AD20-CEA529C2305C}" type="parTrans" cxnId="{A8946060-8FF6-4119-B0DF-D224FCBA4273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650FF023-36EB-432A-A315-55E1519094FE}" type="sibTrans" cxnId="{A8946060-8FF6-4119-B0DF-D224FCBA4273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B155E5C1-17FE-4A29-B7D5-A3A915942518}">
      <dgm:prSet phldrT="[文本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1800" b="1" dirty="0">
              <a:latin typeface="微软雅黑" pitchFamily="34" charset="-122"/>
              <a:ea typeface="微软雅黑" pitchFamily="34" charset="-122"/>
            </a:rPr>
            <a:t>上线</a:t>
          </a:r>
        </a:p>
      </dgm:t>
    </dgm:pt>
    <dgm:pt modelId="{640B258A-F2FA-4377-B50B-A07DF8E56C5C}" type="parTrans" cxnId="{00034282-60FB-4FD6-B4A2-2A09AE43DB78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C5DBD68C-C0A7-4493-BDA5-2A407A943B3A}" type="sibTrans" cxnId="{00034282-60FB-4FD6-B4A2-2A09AE43DB78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2367D3DE-D024-48E0-88AE-AEC0EAFBC4E2}" type="pres">
      <dgm:prSet presAssocID="{C40F0170-C521-4543-AF17-C2C748B9799C}" presName="diagram" presStyleCnt="0">
        <dgm:presLayoutVars>
          <dgm:dir/>
          <dgm:resizeHandles val="exact"/>
        </dgm:presLayoutVars>
      </dgm:prSet>
      <dgm:spPr/>
    </dgm:pt>
    <dgm:pt modelId="{35C49096-D3A9-4DAD-8C6B-C88E4A7796E3}" type="pres">
      <dgm:prSet presAssocID="{3654FBB0-52ED-48FA-B759-064DE891E66B}" presName="node" presStyleLbl="node1" presStyleIdx="0" presStyleCnt="4">
        <dgm:presLayoutVars>
          <dgm:bulletEnabled val="1"/>
        </dgm:presLayoutVars>
      </dgm:prSet>
      <dgm:spPr/>
    </dgm:pt>
    <dgm:pt modelId="{DB42E419-36FA-47B8-B398-39F4DEEB4F0A}" type="pres">
      <dgm:prSet presAssocID="{DB6516B5-D152-40FE-9B20-C25DBDC3F3E7}" presName="sibTrans" presStyleLbl="sibTrans2D1" presStyleIdx="0" presStyleCnt="3"/>
      <dgm:spPr/>
    </dgm:pt>
    <dgm:pt modelId="{113C64B5-4B1B-49A3-A613-7D1DC91D9798}" type="pres">
      <dgm:prSet presAssocID="{DB6516B5-D152-40FE-9B20-C25DBDC3F3E7}" presName="connectorText" presStyleLbl="sibTrans2D1" presStyleIdx="0" presStyleCnt="3"/>
      <dgm:spPr/>
    </dgm:pt>
    <dgm:pt modelId="{54D51531-EFDC-44F5-B6A9-D8A469BDEA38}" type="pres">
      <dgm:prSet presAssocID="{0F47DA10-D1D7-4D10-B742-DFB9763DB21A}" presName="node" presStyleLbl="node1" presStyleIdx="1" presStyleCnt="4">
        <dgm:presLayoutVars>
          <dgm:bulletEnabled val="1"/>
        </dgm:presLayoutVars>
      </dgm:prSet>
      <dgm:spPr/>
    </dgm:pt>
    <dgm:pt modelId="{4CF1376C-2D38-4663-8360-44BBA7432C53}" type="pres">
      <dgm:prSet presAssocID="{B748EDC1-1337-4073-9F28-59C4653B560F}" presName="sibTrans" presStyleLbl="sibTrans2D1" presStyleIdx="1" presStyleCnt="3"/>
      <dgm:spPr/>
    </dgm:pt>
    <dgm:pt modelId="{318987B6-1B71-44E8-AD44-754343BA0958}" type="pres">
      <dgm:prSet presAssocID="{B748EDC1-1337-4073-9F28-59C4653B560F}" presName="connectorText" presStyleLbl="sibTrans2D1" presStyleIdx="1" presStyleCnt="3"/>
      <dgm:spPr/>
    </dgm:pt>
    <dgm:pt modelId="{1DD53DCF-A1E9-4751-857B-6AF97E662E9F}" type="pres">
      <dgm:prSet presAssocID="{4E8C170A-FDA9-4781-A23C-9CBB2C8BBE05}" presName="node" presStyleLbl="node1" presStyleIdx="2" presStyleCnt="4">
        <dgm:presLayoutVars>
          <dgm:bulletEnabled val="1"/>
        </dgm:presLayoutVars>
      </dgm:prSet>
      <dgm:spPr/>
    </dgm:pt>
    <dgm:pt modelId="{9B89744A-8E3A-47E1-8272-071E96C49A48}" type="pres">
      <dgm:prSet presAssocID="{650FF023-36EB-432A-A315-55E1519094FE}" presName="sibTrans" presStyleLbl="sibTrans2D1" presStyleIdx="2" presStyleCnt="3"/>
      <dgm:spPr/>
    </dgm:pt>
    <dgm:pt modelId="{73C5F095-0A54-4FB0-B24E-2A241F024EAF}" type="pres">
      <dgm:prSet presAssocID="{650FF023-36EB-432A-A315-55E1519094FE}" presName="connectorText" presStyleLbl="sibTrans2D1" presStyleIdx="2" presStyleCnt="3"/>
      <dgm:spPr/>
    </dgm:pt>
    <dgm:pt modelId="{9FF08FB5-62B0-4E2E-ACA9-E2007CC81622}" type="pres">
      <dgm:prSet presAssocID="{B155E5C1-17FE-4A29-B7D5-A3A915942518}" presName="node" presStyleLbl="node1" presStyleIdx="3" presStyleCnt="4">
        <dgm:presLayoutVars>
          <dgm:bulletEnabled val="1"/>
        </dgm:presLayoutVars>
      </dgm:prSet>
      <dgm:spPr/>
    </dgm:pt>
  </dgm:ptLst>
  <dgm:cxnLst>
    <dgm:cxn modelId="{64018D02-2B45-4ED0-8D33-6ED957D929A2}" srcId="{C40F0170-C521-4543-AF17-C2C748B9799C}" destId="{3654FBB0-52ED-48FA-B759-064DE891E66B}" srcOrd="0" destOrd="0" parTransId="{0B1BA208-F3A6-4BFA-AA3B-3BDB9AF83AE5}" sibTransId="{DB6516B5-D152-40FE-9B20-C25DBDC3F3E7}"/>
    <dgm:cxn modelId="{B6581B14-0A1E-4F31-AE6B-BA3482052DB4}" srcId="{C40F0170-C521-4543-AF17-C2C748B9799C}" destId="{0F47DA10-D1D7-4D10-B742-DFB9763DB21A}" srcOrd="1" destOrd="0" parTransId="{C6D6F96C-0354-440E-8B4C-30F7393CE7B5}" sibTransId="{B748EDC1-1337-4073-9F28-59C4653B560F}"/>
    <dgm:cxn modelId="{F8701618-F8FB-4E35-84B3-60D210F6F9B5}" type="presOf" srcId="{650FF023-36EB-432A-A315-55E1519094FE}" destId="{9B89744A-8E3A-47E1-8272-071E96C49A48}" srcOrd="0" destOrd="0" presId="urn:microsoft.com/office/officeart/2005/8/layout/process5"/>
    <dgm:cxn modelId="{20E1D135-CCC9-4B13-A4C2-7148020F28B2}" type="presOf" srcId="{B155E5C1-17FE-4A29-B7D5-A3A915942518}" destId="{9FF08FB5-62B0-4E2E-ACA9-E2007CC81622}" srcOrd="0" destOrd="0" presId="urn:microsoft.com/office/officeart/2005/8/layout/process5"/>
    <dgm:cxn modelId="{2DA6C94A-D65C-42D5-B547-3D02AB1B5B3B}" type="presOf" srcId="{C40F0170-C521-4543-AF17-C2C748B9799C}" destId="{2367D3DE-D024-48E0-88AE-AEC0EAFBC4E2}" srcOrd="0" destOrd="0" presId="urn:microsoft.com/office/officeart/2005/8/layout/process5"/>
    <dgm:cxn modelId="{93D3A24E-DF71-49E2-8A5C-5E09F8E7EE9E}" type="presOf" srcId="{B748EDC1-1337-4073-9F28-59C4653B560F}" destId="{4CF1376C-2D38-4663-8360-44BBA7432C53}" srcOrd="0" destOrd="0" presId="urn:microsoft.com/office/officeart/2005/8/layout/process5"/>
    <dgm:cxn modelId="{A8946060-8FF6-4119-B0DF-D224FCBA4273}" srcId="{C40F0170-C521-4543-AF17-C2C748B9799C}" destId="{4E8C170A-FDA9-4781-A23C-9CBB2C8BBE05}" srcOrd="2" destOrd="0" parTransId="{44EB9C8E-4249-4CC6-AD20-CEA529C2305C}" sibTransId="{650FF023-36EB-432A-A315-55E1519094FE}"/>
    <dgm:cxn modelId="{00034282-60FB-4FD6-B4A2-2A09AE43DB78}" srcId="{C40F0170-C521-4543-AF17-C2C748B9799C}" destId="{B155E5C1-17FE-4A29-B7D5-A3A915942518}" srcOrd="3" destOrd="0" parTransId="{640B258A-F2FA-4377-B50B-A07DF8E56C5C}" sibTransId="{C5DBD68C-C0A7-4493-BDA5-2A407A943B3A}"/>
    <dgm:cxn modelId="{525B108A-B034-413F-A80A-B7EC10AD419D}" type="presOf" srcId="{DB6516B5-D152-40FE-9B20-C25DBDC3F3E7}" destId="{113C64B5-4B1B-49A3-A613-7D1DC91D9798}" srcOrd="1" destOrd="0" presId="urn:microsoft.com/office/officeart/2005/8/layout/process5"/>
    <dgm:cxn modelId="{3E84518D-36AC-4A54-B664-4711F58E1011}" type="presOf" srcId="{DB6516B5-D152-40FE-9B20-C25DBDC3F3E7}" destId="{DB42E419-36FA-47B8-B398-39F4DEEB4F0A}" srcOrd="0" destOrd="0" presId="urn:microsoft.com/office/officeart/2005/8/layout/process5"/>
    <dgm:cxn modelId="{11FBB79F-8990-49DE-9515-30735CD349B5}" type="presOf" srcId="{4E8C170A-FDA9-4781-A23C-9CBB2C8BBE05}" destId="{1DD53DCF-A1E9-4751-857B-6AF97E662E9F}" srcOrd="0" destOrd="0" presId="urn:microsoft.com/office/officeart/2005/8/layout/process5"/>
    <dgm:cxn modelId="{167669C7-0487-4D11-A46A-08B514071BE3}" type="presOf" srcId="{B748EDC1-1337-4073-9F28-59C4653B560F}" destId="{318987B6-1B71-44E8-AD44-754343BA0958}" srcOrd="1" destOrd="0" presId="urn:microsoft.com/office/officeart/2005/8/layout/process5"/>
    <dgm:cxn modelId="{BAD4BDCB-B0B0-429C-BBC7-53EFA9EF9B03}" type="presOf" srcId="{650FF023-36EB-432A-A315-55E1519094FE}" destId="{73C5F095-0A54-4FB0-B24E-2A241F024EAF}" srcOrd="1" destOrd="0" presId="urn:microsoft.com/office/officeart/2005/8/layout/process5"/>
    <dgm:cxn modelId="{8C629ED2-0C46-454F-A226-1A4A0FBE2B9D}" type="presOf" srcId="{0F47DA10-D1D7-4D10-B742-DFB9763DB21A}" destId="{54D51531-EFDC-44F5-B6A9-D8A469BDEA38}" srcOrd="0" destOrd="0" presId="urn:microsoft.com/office/officeart/2005/8/layout/process5"/>
    <dgm:cxn modelId="{81028EE7-2BE1-46B5-87E6-769B2E4DE44C}" type="presOf" srcId="{3654FBB0-52ED-48FA-B759-064DE891E66B}" destId="{35C49096-D3A9-4DAD-8C6B-C88E4A7796E3}" srcOrd="0" destOrd="0" presId="urn:microsoft.com/office/officeart/2005/8/layout/process5"/>
    <dgm:cxn modelId="{CD325AAE-A8DE-4D7A-9521-DCD54B0632C4}" type="presParOf" srcId="{2367D3DE-D024-48E0-88AE-AEC0EAFBC4E2}" destId="{35C49096-D3A9-4DAD-8C6B-C88E4A7796E3}" srcOrd="0" destOrd="0" presId="urn:microsoft.com/office/officeart/2005/8/layout/process5"/>
    <dgm:cxn modelId="{DB1ECA69-F748-4AB0-8457-309B1857F7D4}" type="presParOf" srcId="{2367D3DE-D024-48E0-88AE-AEC0EAFBC4E2}" destId="{DB42E419-36FA-47B8-B398-39F4DEEB4F0A}" srcOrd="1" destOrd="0" presId="urn:microsoft.com/office/officeart/2005/8/layout/process5"/>
    <dgm:cxn modelId="{F885045C-543B-4B6D-801C-13E3A61225A6}" type="presParOf" srcId="{DB42E419-36FA-47B8-B398-39F4DEEB4F0A}" destId="{113C64B5-4B1B-49A3-A613-7D1DC91D9798}" srcOrd="0" destOrd="0" presId="urn:microsoft.com/office/officeart/2005/8/layout/process5"/>
    <dgm:cxn modelId="{88A94B40-D499-4D68-811F-E1000641EED2}" type="presParOf" srcId="{2367D3DE-D024-48E0-88AE-AEC0EAFBC4E2}" destId="{54D51531-EFDC-44F5-B6A9-D8A469BDEA38}" srcOrd="2" destOrd="0" presId="urn:microsoft.com/office/officeart/2005/8/layout/process5"/>
    <dgm:cxn modelId="{94D3393B-EBFC-46A7-9EC0-220151E24EBA}" type="presParOf" srcId="{2367D3DE-D024-48E0-88AE-AEC0EAFBC4E2}" destId="{4CF1376C-2D38-4663-8360-44BBA7432C53}" srcOrd="3" destOrd="0" presId="urn:microsoft.com/office/officeart/2005/8/layout/process5"/>
    <dgm:cxn modelId="{2DFDDF7F-4D86-4D8D-9DA8-EC4D24F00CA8}" type="presParOf" srcId="{4CF1376C-2D38-4663-8360-44BBA7432C53}" destId="{318987B6-1B71-44E8-AD44-754343BA0958}" srcOrd="0" destOrd="0" presId="urn:microsoft.com/office/officeart/2005/8/layout/process5"/>
    <dgm:cxn modelId="{20F35AF2-2318-4E02-B276-AFCE8ABE8581}" type="presParOf" srcId="{2367D3DE-D024-48E0-88AE-AEC0EAFBC4E2}" destId="{1DD53DCF-A1E9-4751-857B-6AF97E662E9F}" srcOrd="4" destOrd="0" presId="urn:microsoft.com/office/officeart/2005/8/layout/process5"/>
    <dgm:cxn modelId="{5280DC3E-6F6E-43EF-9947-484C99A18AD9}" type="presParOf" srcId="{2367D3DE-D024-48E0-88AE-AEC0EAFBC4E2}" destId="{9B89744A-8E3A-47E1-8272-071E96C49A48}" srcOrd="5" destOrd="0" presId="urn:microsoft.com/office/officeart/2005/8/layout/process5"/>
    <dgm:cxn modelId="{08E3400C-FC86-4A01-8DED-D6E1479F73B3}" type="presParOf" srcId="{9B89744A-8E3A-47E1-8272-071E96C49A48}" destId="{73C5F095-0A54-4FB0-B24E-2A241F024EAF}" srcOrd="0" destOrd="0" presId="urn:microsoft.com/office/officeart/2005/8/layout/process5"/>
    <dgm:cxn modelId="{673DBE2D-B636-485C-AF35-C4DE805DC9AD}" type="presParOf" srcId="{2367D3DE-D024-48E0-88AE-AEC0EAFBC4E2}" destId="{9FF08FB5-62B0-4E2E-ACA9-E2007CC81622}" srcOrd="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F4F8601-757A-4008-817C-880969333201}" type="doc">
      <dgm:prSet loTypeId="urn:microsoft.com/office/officeart/2005/8/layout/default#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B5086DC-C5E5-4B70-9002-BF4CE4586F06}">
      <dgm:prSet phldrT="[文本]" custT="1"/>
      <dgm:spPr>
        <a:solidFill>
          <a:srgbClr val="B1AEF6"/>
        </a:solidFill>
      </dgm:spPr>
      <dgm:t>
        <a:bodyPr/>
        <a:lstStyle/>
        <a:p>
          <a:r>
            <a:rPr lang="en-US" altLang="zh-CN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TOP N</a:t>
          </a:r>
          <a:r>
            <a: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改进措施</a:t>
          </a:r>
        </a:p>
      </dgm:t>
    </dgm:pt>
    <dgm:pt modelId="{861391A6-9FF8-452B-ABDE-21F5AC7F89B3}" type="parTrans" cxnId="{FB713341-BE38-44D4-9AA8-A8C044ECAADC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658D9DE-F5C7-40D5-9376-CEE727CC09EC}" type="sibTrans" cxnId="{FB713341-BE38-44D4-9AA8-A8C044ECAADC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AE4C1CC-1552-48D0-ACAB-1CFA94EB29A9}">
      <dgm:prSet phldrT="[文本]" custT="1"/>
      <dgm:spPr>
        <a:solidFill>
          <a:srgbClr val="B1AEF6"/>
        </a:solidFill>
      </dgm:spPr>
      <dgm:t>
        <a:bodyPr/>
        <a:lstStyle/>
        <a:p>
          <a:r>
            <a: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更紧密的合作氛围</a:t>
          </a:r>
        </a:p>
      </dgm:t>
    </dgm:pt>
    <dgm:pt modelId="{93555877-B586-4105-87AB-A7723ADD4272}" type="parTrans" cxnId="{E6B95B5E-8AEC-4D74-94AF-CF1AAE33CA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36EDF5D-19A1-44EA-8682-135F1E046035}" type="sibTrans" cxnId="{E6B95B5E-8AEC-4D74-94AF-CF1AAE33CA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BB04780-DC8A-40EB-9D44-BA04663433CA}" type="pres">
      <dgm:prSet presAssocID="{0F4F8601-757A-4008-817C-880969333201}" presName="diagram" presStyleCnt="0">
        <dgm:presLayoutVars>
          <dgm:dir/>
          <dgm:resizeHandles val="exact"/>
        </dgm:presLayoutVars>
      </dgm:prSet>
      <dgm:spPr/>
    </dgm:pt>
    <dgm:pt modelId="{3357B784-CCAF-4834-90E2-00D4CECD27E0}" type="pres">
      <dgm:prSet presAssocID="{7B5086DC-C5E5-4B70-9002-BF4CE4586F06}" presName="node" presStyleLbl="node1" presStyleIdx="0" presStyleCnt="2" custLinFactNeighborX="-20964" custLinFactNeighborY="-1272">
        <dgm:presLayoutVars>
          <dgm:bulletEnabled val="1"/>
        </dgm:presLayoutVars>
      </dgm:prSet>
      <dgm:spPr/>
    </dgm:pt>
    <dgm:pt modelId="{41C822C9-38F4-4630-BD8D-4E4079EBD41B}" type="pres">
      <dgm:prSet presAssocID="{6658D9DE-F5C7-40D5-9376-CEE727CC09EC}" presName="sibTrans" presStyleCnt="0"/>
      <dgm:spPr/>
    </dgm:pt>
    <dgm:pt modelId="{F075F55E-FFDF-4223-83F1-99D648BA7181}" type="pres">
      <dgm:prSet presAssocID="{8AE4C1CC-1552-48D0-ACAB-1CFA94EB29A9}" presName="node" presStyleLbl="node1" presStyleIdx="1" presStyleCnt="2" custLinFactNeighborX="-3195">
        <dgm:presLayoutVars>
          <dgm:bulletEnabled val="1"/>
        </dgm:presLayoutVars>
      </dgm:prSet>
      <dgm:spPr/>
    </dgm:pt>
  </dgm:ptLst>
  <dgm:cxnLst>
    <dgm:cxn modelId="{FB713341-BE38-44D4-9AA8-A8C044ECAADC}" srcId="{0F4F8601-757A-4008-817C-880969333201}" destId="{7B5086DC-C5E5-4B70-9002-BF4CE4586F06}" srcOrd="0" destOrd="0" parTransId="{861391A6-9FF8-452B-ABDE-21F5AC7F89B3}" sibTransId="{6658D9DE-F5C7-40D5-9376-CEE727CC09EC}"/>
    <dgm:cxn modelId="{A773C552-A9DC-B64A-8170-D8144650AC38}" type="presOf" srcId="{0F4F8601-757A-4008-817C-880969333201}" destId="{5BB04780-DC8A-40EB-9D44-BA04663433CA}" srcOrd="0" destOrd="0" presId="urn:microsoft.com/office/officeart/2005/8/layout/default#3"/>
    <dgm:cxn modelId="{E6B95B5E-8AEC-4D74-94AF-CF1AAE33CA21}" srcId="{0F4F8601-757A-4008-817C-880969333201}" destId="{8AE4C1CC-1552-48D0-ACAB-1CFA94EB29A9}" srcOrd="1" destOrd="0" parTransId="{93555877-B586-4105-87AB-A7723ADD4272}" sibTransId="{336EDF5D-19A1-44EA-8682-135F1E046035}"/>
    <dgm:cxn modelId="{35307682-619F-1E40-8264-E25AC53DFC89}" type="presOf" srcId="{7B5086DC-C5E5-4B70-9002-BF4CE4586F06}" destId="{3357B784-CCAF-4834-90E2-00D4CECD27E0}" srcOrd="0" destOrd="0" presId="urn:microsoft.com/office/officeart/2005/8/layout/default#3"/>
    <dgm:cxn modelId="{620A01A7-1F88-AF4A-90E7-A5E19B1D8ACC}" type="presOf" srcId="{8AE4C1CC-1552-48D0-ACAB-1CFA94EB29A9}" destId="{F075F55E-FFDF-4223-83F1-99D648BA7181}" srcOrd="0" destOrd="0" presId="urn:microsoft.com/office/officeart/2005/8/layout/default#3"/>
    <dgm:cxn modelId="{690096DC-127A-1243-8F62-4BDB7E5125E4}" type="presParOf" srcId="{5BB04780-DC8A-40EB-9D44-BA04663433CA}" destId="{3357B784-CCAF-4834-90E2-00D4CECD27E0}" srcOrd="0" destOrd="0" presId="urn:microsoft.com/office/officeart/2005/8/layout/default#3"/>
    <dgm:cxn modelId="{C06B852B-07B8-A640-99DA-4F51520E4F76}" type="presParOf" srcId="{5BB04780-DC8A-40EB-9D44-BA04663433CA}" destId="{41C822C9-38F4-4630-BD8D-4E4079EBD41B}" srcOrd="1" destOrd="0" presId="urn:microsoft.com/office/officeart/2005/8/layout/default#3"/>
    <dgm:cxn modelId="{DF8BD7EB-122D-1843-8899-541A57846226}" type="presParOf" srcId="{5BB04780-DC8A-40EB-9D44-BA04663433CA}" destId="{F075F55E-FFDF-4223-83F1-99D648BA7181}" srcOrd="2" destOrd="0" presId="urn:microsoft.com/office/officeart/2005/8/layout/default#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F4F8601-757A-4008-817C-880969333201}" type="doc">
      <dgm:prSet loTypeId="urn:microsoft.com/office/officeart/2005/8/layout/default#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B5086DC-C5E5-4B70-9002-BF4CE4586F06}">
      <dgm:prSet phldrT="[文本]" custT="1"/>
      <dgm:spPr>
        <a:solidFill>
          <a:srgbClr val="B1AEF6"/>
        </a:solidFill>
      </dgm:spPr>
      <dgm:t>
        <a:bodyPr/>
        <a:lstStyle/>
        <a:p>
          <a:r>
            <a: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主观数据</a:t>
          </a:r>
        </a:p>
      </dgm:t>
    </dgm:pt>
    <dgm:pt modelId="{861391A6-9FF8-452B-ABDE-21F5AC7F89B3}" type="parTrans" cxnId="{FB713341-BE38-44D4-9AA8-A8C044ECAADC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658D9DE-F5C7-40D5-9376-CEE727CC09EC}" type="sibTrans" cxnId="{FB713341-BE38-44D4-9AA8-A8C044ECAADC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AE4C1CC-1552-48D0-ACAB-1CFA94EB29A9}">
      <dgm:prSet phldrT="[文本]" custT="1"/>
      <dgm:spPr>
        <a:solidFill>
          <a:srgbClr val="B1AEF6"/>
        </a:solidFill>
      </dgm:spPr>
      <dgm:t>
        <a:bodyPr/>
        <a:lstStyle/>
        <a:p>
          <a:r>
            <a: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观数据</a:t>
          </a:r>
        </a:p>
      </dgm:t>
    </dgm:pt>
    <dgm:pt modelId="{93555877-B586-4105-87AB-A7723ADD4272}" type="parTrans" cxnId="{E6B95B5E-8AEC-4D74-94AF-CF1AAE33CA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36EDF5D-19A1-44EA-8682-135F1E046035}" type="sibTrans" cxnId="{E6B95B5E-8AEC-4D74-94AF-CF1AAE33CA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BB04780-DC8A-40EB-9D44-BA04663433CA}" type="pres">
      <dgm:prSet presAssocID="{0F4F8601-757A-4008-817C-880969333201}" presName="diagram" presStyleCnt="0">
        <dgm:presLayoutVars>
          <dgm:dir/>
          <dgm:resizeHandles val="exact"/>
        </dgm:presLayoutVars>
      </dgm:prSet>
      <dgm:spPr/>
    </dgm:pt>
    <dgm:pt modelId="{3357B784-CCAF-4834-90E2-00D4CECD27E0}" type="pres">
      <dgm:prSet presAssocID="{7B5086DC-C5E5-4B70-9002-BF4CE4586F06}" presName="node" presStyleLbl="node1" presStyleIdx="0" presStyleCnt="2" custLinFactNeighborX="-20964" custLinFactNeighborY="-1272">
        <dgm:presLayoutVars>
          <dgm:bulletEnabled val="1"/>
        </dgm:presLayoutVars>
      </dgm:prSet>
      <dgm:spPr/>
    </dgm:pt>
    <dgm:pt modelId="{41C822C9-38F4-4630-BD8D-4E4079EBD41B}" type="pres">
      <dgm:prSet presAssocID="{6658D9DE-F5C7-40D5-9376-CEE727CC09EC}" presName="sibTrans" presStyleCnt="0"/>
      <dgm:spPr/>
    </dgm:pt>
    <dgm:pt modelId="{F075F55E-FFDF-4223-83F1-99D648BA7181}" type="pres">
      <dgm:prSet presAssocID="{8AE4C1CC-1552-48D0-ACAB-1CFA94EB29A9}" presName="node" presStyleLbl="node1" presStyleIdx="1" presStyleCnt="2">
        <dgm:presLayoutVars>
          <dgm:bulletEnabled val="1"/>
        </dgm:presLayoutVars>
      </dgm:prSet>
      <dgm:spPr/>
    </dgm:pt>
  </dgm:ptLst>
  <dgm:cxnLst>
    <dgm:cxn modelId="{0C63CE25-C280-534B-A996-D972829E2AFF}" type="presOf" srcId="{7B5086DC-C5E5-4B70-9002-BF4CE4586F06}" destId="{3357B784-CCAF-4834-90E2-00D4CECD27E0}" srcOrd="0" destOrd="0" presId="urn:microsoft.com/office/officeart/2005/8/layout/default#4"/>
    <dgm:cxn modelId="{FB713341-BE38-44D4-9AA8-A8C044ECAADC}" srcId="{0F4F8601-757A-4008-817C-880969333201}" destId="{7B5086DC-C5E5-4B70-9002-BF4CE4586F06}" srcOrd="0" destOrd="0" parTransId="{861391A6-9FF8-452B-ABDE-21F5AC7F89B3}" sibTransId="{6658D9DE-F5C7-40D5-9376-CEE727CC09EC}"/>
    <dgm:cxn modelId="{E6B95B5E-8AEC-4D74-94AF-CF1AAE33CA21}" srcId="{0F4F8601-757A-4008-817C-880969333201}" destId="{8AE4C1CC-1552-48D0-ACAB-1CFA94EB29A9}" srcOrd="1" destOrd="0" parTransId="{93555877-B586-4105-87AB-A7723ADD4272}" sibTransId="{336EDF5D-19A1-44EA-8682-135F1E046035}"/>
    <dgm:cxn modelId="{223146E9-46FB-764F-AF74-CAC4523FB92B}" type="presOf" srcId="{8AE4C1CC-1552-48D0-ACAB-1CFA94EB29A9}" destId="{F075F55E-FFDF-4223-83F1-99D648BA7181}" srcOrd="0" destOrd="0" presId="urn:microsoft.com/office/officeart/2005/8/layout/default#4"/>
    <dgm:cxn modelId="{EFE3D6FD-5ED8-874D-AA13-BD2F9613440C}" type="presOf" srcId="{0F4F8601-757A-4008-817C-880969333201}" destId="{5BB04780-DC8A-40EB-9D44-BA04663433CA}" srcOrd="0" destOrd="0" presId="urn:microsoft.com/office/officeart/2005/8/layout/default#4"/>
    <dgm:cxn modelId="{3A7A5344-3A9A-C243-83E2-C960F1F953A3}" type="presParOf" srcId="{5BB04780-DC8A-40EB-9D44-BA04663433CA}" destId="{3357B784-CCAF-4834-90E2-00D4CECD27E0}" srcOrd="0" destOrd="0" presId="urn:microsoft.com/office/officeart/2005/8/layout/default#4"/>
    <dgm:cxn modelId="{E28C0693-DA8E-B74F-AD6F-21D6D2770646}" type="presParOf" srcId="{5BB04780-DC8A-40EB-9D44-BA04663433CA}" destId="{41C822C9-38F4-4630-BD8D-4E4079EBD41B}" srcOrd="1" destOrd="0" presId="urn:microsoft.com/office/officeart/2005/8/layout/default#4"/>
    <dgm:cxn modelId="{84E8042F-290A-724B-8A6E-2C3EE13BCC8E}" type="presParOf" srcId="{5BB04780-DC8A-40EB-9D44-BA04663433CA}" destId="{F075F55E-FFDF-4223-83F1-99D648BA7181}" srcOrd="2" destOrd="0" presId="urn:microsoft.com/office/officeart/2005/8/layout/default#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2F28E90-C8AD-A74C-B450-979D7198E462}" type="doc">
      <dgm:prSet loTypeId="urn:microsoft.com/office/officeart/2005/8/layout/hList1" loCatId="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zh-CN" altLang="en-US"/>
        </a:p>
      </dgm:t>
    </dgm:pt>
    <dgm:pt modelId="{2D014940-CF89-6848-943D-5F842421F180}">
      <dgm:prSet phldrT="[文本]" custT="1"/>
      <dgm:spPr/>
      <dgm:t>
        <a:bodyPr/>
        <a:lstStyle/>
        <a:p>
          <a:r>
            <a:rPr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需求方原因</a:t>
          </a:r>
        </a:p>
      </dgm:t>
    </dgm:pt>
    <dgm:pt modelId="{6057154A-24CA-5C4E-BEB5-BA82BCB1D137}" type="parTrans" cxnId="{16DF0256-781C-EE4E-A3BB-3195E05BEA76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4B0D7167-1C2D-3A47-88A6-83F1C4A8B6B8}" type="sibTrans" cxnId="{16DF0256-781C-EE4E-A3BB-3195E05BEA76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9671AE25-B607-314E-B498-0A9103A7E4E5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市场、竞争压力</a:t>
          </a:r>
        </a:p>
      </dgm:t>
    </dgm:pt>
    <dgm:pt modelId="{E31360CE-B788-A84F-A5F0-9D83675C3937}" type="parTrans" cxnId="{7DEFD645-47B5-0C45-887B-20D9C8FEDCB5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5D0E8F79-460C-E940-BFB1-67EA7660E709}" type="sibTrans" cxnId="{7DEFD645-47B5-0C45-887B-20D9C8FEDCB5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DDB5E5F3-F20C-2643-A091-6F9F37857008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组织结构、人员因素</a:t>
          </a:r>
        </a:p>
      </dgm:t>
    </dgm:pt>
    <dgm:pt modelId="{4A4714CC-035C-DC48-8535-8B24F1AD9F8C}" type="parTrans" cxnId="{64E4D735-887E-714F-90AE-1C21C8E83517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AB2BFE67-FA72-DE4F-B631-5234CDF4D279}" type="sibTrans" cxnId="{64E4D735-887E-714F-90AE-1C21C8E83517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485A6028-49C3-6C4D-A7C3-AA6A94A82836}">
      <dgm:prSet phldrT="[文本]" custT="1"/>
      <dgm:spPr/>
      <dgm:t>
        <a:bodyPr/>
        <a:lstStyle/>
        <a:p>
          <a:r>
            <a:rPr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外部因素</a:t>
          </a:r>
        </a:p>
      </dgm:t>
    </dgm:pt>
    <dgm:pt modelId="{02B60D0F-9B6E-8645-8F2D-784DB9913418}" type="parTrans" cxnId="{1123FC82-9CBA-9143-ACB0-50719E22ECBB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73D1A611-7B68-1644-89C7-EDB8FF55C738}" type="sibTrans" cxnId="{1123FC82-9CBA-9143-ACB0-50719E22ECBB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A6A13320-1C1A-714F-8B05-C681B6132DAD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市场、竞争压力</a:t>
          </a:r>
        </a:p>
      </dgm:t>
    </dgm:pt>
    <dgm:pt modelId="{B7CE969B-6F16-4A45-B86D-26E3EC0EE165}" type="parTrans" cxnId="{BCB7AA34-2F01-374D-8E97-2A00F6F63DF9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45DB877D-233F-D349-9176-9B73D8B56EF1}" type="sibTrans" cxnId="{BCB7AA34-2F01-374D-8E97-2A00F6F63DF9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6A19C635-1437-704C-8E4D-0C4BAB05ED8D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新技术</a:t>
          </a:r>
        </a:p>
      </dgm:t>
    </dgm:pt>
    <dgm:pt modelId="{48E54812-29ED-4845-8FD3-376FE6D969AF}" type="parTrans" cxnId="{B622F5E7-981F-3C44-A776-6038C1A8B221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027B7745-C371-C84A-B1D7-BAEB1B008A74}" type="sibTrans" cxnId="{B622F5E7-981F-3C44-A776-6038C1A8B221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00F3B929-57FB-AE4D-A41B-B210C4497539}">
      <dgm:prSet phldrT="[文本]" custT="1"/>
      <dgm:spPr/>
      <dgm:t>
        <a:bodyPr/>
        <a:lstStyle/>
        <a:p>
          <a:r>
            <a:rPr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内部因素</a:t>
          </a:r>
        </a:p>
      </dgm:t>
    </dgm:pt>
    <dgm:pt modelId="{E37CDFA0-9963-024A-9F40-3A910C75DFDF}" type="parTrans" cxnId="{AB072402-8838-5B4A-A468-D65BAE4204EE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F9D11BE8-17B5-4142-A52A-F27A15261E83}" type="sibTrans" cxnId="{AB072402-8838-5B4A-A468-D65BAE4204EE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01778BDD-DA03-E54D-8019-60B6BF5457EB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时间、人力</a:t>
          </a:r>
        </a:p>
      </dgm:t>
    </dgm:pt>
    <dgm:pt modelId="{AC969B23-D709-494F-988C-11C72A951BC1}" type="parTrans" cxnId="{C482B5EC-D290-DD47-AD77-1AF679D89ED9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CA7E8570-55F8-7A40-B0E1-E4FB56A2C370}" type="sibTrans" cxnId="{C482B5EC-D290-DD47-AD77-1AF679D89ED9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E43E98E1-C11D-4343-AD56-02B11007A4A7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沟通问题</a:t>
          </a:r>
        </a:p>
      </dgm:t>
    </dgm:pt>
    <dgm:pt modelId="{6512F590-AE80-A04C-B4F0-BBB9DCFFE082}" type="parTrans" cxnId="{D3BD12D6-1F5C-764F-8636-0EB102F8BE79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FD8E510B-9524-A64E-AF1E-D858A1E8215B}" type="sibTrans" cxnId="{D3BD12D6-1F5C-764F-8636-0EB102F8BE79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A5FB3616-8658-C746-95C6-97A50B58494C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规划调整</a:t>
          </a:r>
        </a:p>
      </dgm:t>
    </dgm:pt>
    <dgm:pt modelId="{E7FFCC4F-1180-B248-A874-65CAEAA38B3D}" type="parTrans" cxnId="{92B02DB3-EB49-A049-B073-7F3D84B89913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21B517F6-26C4-E84F-B861-D9CA557C3CEA}" type="sibTrans" cxnId="{92B02DB3-EB49-A049-B073-7F3D84B89913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FD982760-0C4F-5943-BE8B-B715994CC647}">
      <dgm:prSet custT="1"/>
      <dgm:spPr/>
      <dgm:t>
        <a:bodyPr/>
        <a:lstStyle/>
        <a:p>
          <a:r>
            <a:rPr lang="zh-CN" altLang="en-US" sz="1200" b="1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管理问题</a:t>
          </a:r>
        </a:p>
      </dgm:t>
    </dgm:pt>
    <dgm:pt modelId="{292F04CF-4206-4B42-8A77-A31478741B33}" type="parTrans" cxnId="{476B672C-9543-C446-A080-31A397EB7D1C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60B4BD74-D14E-0C49-9AC4-69C002D24A3D}" type="sibTrans" cxnId="{476B672C-9543-C446-A080-31A397EB7D1C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9C2FC7AE-ABF3-7442-BFF3-E37D22648830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组织调整</a:t>
          </a:r>
        </a:p>
      </dgm:t>
    </dgm:pt>
    <dgm:pt modelId="{CB753BB4-2D8A-6B4D-833E-B43E62BE5ECB}" type="parTrans" cxnId="{4336A234-48D9-EB44-A1CF-F0EE327525E0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4771649F-EA2B-4441-BA1B-A68B323DBD8D}" type="sibTrans" cxnId="{4336A234-48D9-EB44-A1CF-F0EE327525E0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E394196D-3794-5244-9ECE-245CFF79B055}">
      <dgm:prSet phldrT="[文本]"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目标变化</a:t>
          </a:r>
        </a:p>
      </dgm:t>
    </dgm:pt>
    <dgm:pt modelId="{7AC80720-B443-B74D-A14D-88E2C58C7C4E}" type="parTrans" cxnId="{A93C9595-1F07-5345-A65C-E2EA4E40D2D3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14AB7322-6521-AE41-87FA-F223013B2D0F}" type="sibTrans" cxnId="{A93C9595-1F07-5345-A65C-E2EA4E40D2D3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E6D11049-2347-DF45-B449-1169D67A4EB7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需求澄清</a:t>
          </a:r>
        </a:p>
      </dgm:t>
    </dgm:pt>
    <dgm:pt modelId="{F03F1DE2-102F-FE4E-8806-EE91735F4E4C}" type="parTrans" cxnId="{0C72E0E1-F733-654B-995E-6F3D65AADDAD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01CB6404-56E0-2F40-B799-3BF31E15AB15}" type="sibTrans" cxnId="{0C72E0E1-F733-654B-995E-6F3D65AADDAD}">
      <dgm:prSet/>
      <dgm:spPr/>
      <dgm:t>
        <a:bodyPr/>
        <a:lstStyle/>
        <a:p>
          <a:endParaRPr lang="zh-CN" altLang="en-US" sz="105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82B6C18A-AF32-0142-B1DE-5D8543AF24D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跟踪</a:t>
          </a:r>
          <a:r>
            <a:rPr lang="zh-CN" altLang="en-US" sz="12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遗漏</a:t>
          </a:r>
          <a:endParaRPr lang="zh-CN" altLang="en-US" sz="1200" kern="1200" dirty="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</dgm:t>
    </dgm:pt>
    <dgm:pt modelId="{10638D42-856A-F44E-9776-5E4D1E916E97}" type="parTrans" cxnId="{B8B7987D-250C-D147-B5E4-C791F6FBEF5C}">
      <dgm:prSet/>
      <dgm:spPr/>
      <dgm:t>
        <a:bodyPr/>
        <a:lstStyle/>
        <a:p>
          <a:endParaRPr lang="zh-CN" altLang="en-US" sz="1600"/>
        </a:p>
      </dgm:t>
    </dgm:pt>
    <dgm:pt modelId="{1BA4EF7E-0ACD-4C47-BBDC-88EECD616DE7}" type="sibTrans" cxnId="{B8B7987D-250C-D147-B5E4-C791F6FBEF5C}">
      <dgm:prSet/>
      <dgm:spPr/>
      <dgm:t>
        <a:bodyPr/>
        <a:lstStyle/>
        <a:p>
          <a:endParaRPr lang="zh-CN" altLang="en-US" sz="1600"/>
        </a:p>
      </dgm:t>
    </dgm:pt>
    <dgm:pt modelId="{576ADD2C-D871-1E48-9614-BDDAB4E4C48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设计问题</a:t>
          </a:r>
        </a:p>
      </dgm:t>
    </dgm:pt>
    <dgm:pt modelId="{39449794-C62E-2648-B6F0-DED3CBF86B7E}" type="parTrans" cxnId="{837F69CF-96D0-2F46-B8B3-308794823384}">
      <dgm:prSet/>
      <dgm:spPr/>
      <dgm:t>
        <a:bodyPr/>
        <a:lstStyle/>
        <a:p>
          <a:endParaRPr lang="zh-CN" altLang="en-US" sz="1600"/>
        </a:p>
      </dgm:t>
    </dgm:pt>
    <dgm:pt modelId="{B1D88B49-4105-B240-ADA5-242F133F7184}" type="sibTrans" cxnId="{837F69CF-96D0-2F46-B8B3-308794823384}">
      <dgm:prSet/>
      <dgm:spPr/>
      <dgm:t>
        <a:bodyPr/>
        <a:lstStyle/>
        <a:p>
          <a:endParaRPr lang="zh-CN" altLang="en-US" sz="1600"/>
        </a:p>
      </dgm:t>
    </dgm:pt>
    <dgm:pt modelId="{CD637434-E866-054C-AA45-8C8E434C073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不受控</a:t>
          </a:r>
        </a:p>
      </dgm:t>
    </dgm:pt>
    <dgm:pt modelId="{0C3DEA80-25A4-D24B-AC85-12DD43D83514}" type="parTrans" cxnId="{84F41932-73B3-D946-A265-85C9DEBF8D9F}">
      <dgm:prSet/>
      <dgm:spPr/>
      <dgm:t>
        <a:bodyPr/>
        <a:lstStyle/>
        <a:p>
          <a:endParaRPr lang="zh-CN" altLang="en-US" sz="1600"/>
        </a:p>
      </dgm:t>
    </dgm:pt>
    <dgm:pt modelId="{27E24E3C-26AF-BB43-8003-3D2A3927DEDD}" type="sibTrans" cxnId="{84F41932-73B3-D946-A265-85C9DEBF8D9F}">
      <dgm:prSet/>
      <dgm:spPr/>
      <dgm:t>
        <a:bodyPr/>
        <a:lstStyle/>
        <a:p>
          <a:endParaRPr lang="zh-CN" altLang="en-US" sz="1600"/>
        </a:p>
      </dgm:t>
    </dgm:pt>
    <dgm:pt modelId="{6C6728DE-7AA0-3945-B2BD-C6544A303E24}" type="pres">
      <dgm:prSet presAssocID="{62F28E90-C8AD-A74C-B450-979D7198E462}" presName="Name0" presStyleCnt="0">
        <dgm:presLayoutVars>
          <dgm:dir/>
          <dgm:animLvl val="lvl"/>
          <dgm:resizeHandles val="exact"/>
        </dgm:presLayoutVars>
      </dgm:prSet>
      <dgm:spPr/>
    </dgm:pt>
    <dgm:pt modelId="{D3FB7935-0C3E-EF4B-89BA-CB37DDF96B8B}" type="pres">
      <dgm:prSet presAssocID="{2D014940-CF89-6848-943D-5F842421F180}" presName="composite" presStyleCnt="0"/>
      <dgm:spPr/>
    </dgm:pt>
    <dgm:pt modelId="{C131BF89-108C-474A-97A3-6B729D788C61}" type="pres">
      <dgm:prSet presAssocID="{2D014940-CF89-6848-943D-5F842421F180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1512CDA6-6D14-1E44-ACD4-462DC92A85A6}" type="pres">
      <dgm:prSet presAssocID="{2D014940-CF89-6848-943D-5F842421F180}" presName="desTx" presStyleLbl="alignAccFollowNode1" presStyleIdx="0" presStyleCnt="4">
        <dgm:presLayoutVars>
          <dgm:bulletEnabled val="1"/>
        </dgm:presLayoutVars>
      </dgm:prSet>
      <dgm:spPr/>
    </dgm:pt>
    <dgm:pt modelId="{E97EE050-4798-0442-8D85-7962CEEDC9F6}" type="pres">
      <dgm:prSet presAssocID="{4B0D7167-1C2D-3A47-88A6-83F1C4A8B6B8}" presName="space" presStyleCnt="0"/>
      <dgm:spPr/>
    </dgm:pt>
    <dgm:pt modelId="{FFDC7E43-064E-5547-B04E-F595C819EAEF}" type="pres">
      <dgm:prSet presAssocID="{485A6028-49C3-6C4D-A7C3-AA6A94A82836}" presName="composite" presStyleCnt="0"/>
      <dgm:spPr/>
    </dgm:pt>
    <dgm:pt modelId="{4492E4DD-4575-454F-B372-D84498DE67C0}" type="pres">
      <dgm:prSet presAssocID="{485A6028-49C3-6C4D-A7C3-AA6A94A82836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B88B82D0-1663-9C4B-AA91-14A237904FEA}" type="pres">
      <dgm:prSet presAssocID="{485A6028-49C3-6C4D-A7C3-AA6A94A82836}" presName="desTx" presStyleLbl="alignAccFollowNode1" presStyleIdx="1" presStyleCnt="4">
        <dgm:presLayoutVars>
          <dgm:bulletEnabled val="1"/>
        </dgm:presLayoutVars>
      </dgm:prSet>
      <dgm:spPr/>
    </dgm:pt>
    <dgm:pt modelId="{46BE93C8-6983-5A4F-874C-2631ED632083}" type="pres">
      <dgm:prSet presAssocID="{73D1A611-7B68-1644-89C7-EDB8FF55C738}" presName="space" presStyleCnt="0"/>
      <dgm:spPr/>
    </dgm:pt>
    <dgm:pt modelId="{64259239-4D52-C941-B84D-55F269D71231}" type="pres">
      <dgm:prSet presAssocID="{00F3B929-57FB-AE4D-A41B-B210C4497539}" presName="composite" presStyleCnt="0"/>
      <dgm:spPr/>
    </dgm:pt>
    <dgm:pt modelId="{2CF20D30-2500-654F-A40F-4B976F247D6F}" type="pres">
      <dgm:prSet presAssocID="{00F3B929-57FB-AE4D-A41B-B210C4497539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D44BC1EA-43D0-7546-8944-C58F55B7D472}" type="pres">
      <dgm:prSet presAssocID="{00F3B929-57FB-AE4D-A41B-B210C4497539}" presName="desTx" presStyleLbl="alignAccFollowNode1" presStyleIdx="2" presStyleCnt="4">
        <dgm:presLayoutVars>
          <dgm:bulletEnabled val="1"/>
        </dgm:presLayoutVars>
      </dgm:prSet>
      <dgm:spPr/>
    </dgm:pt>
    <dgm:pt modelId="{26CDA03E-27C1-5C4C-9107-2D3ABAC5948F}" type="pres">
      <dgm:prSet presAssocID="{F9D11BE8-17B5-4142-A52A-F27A15261E83}" presName="space" presStyleCnt="0"/>
      <dgm:spPr/>
    </dgm:pt>
    <dgm:pt modelId="{53213668-FD19-3345-9840-A26A795A61DE}" type="pres">
      <dgm:prSet presAssocID="{FD982760-0C4F-5943-BE8B-B715994CC647}" presName="composite" presStyleCnt="0"/>
      <dgm:spPr/>
    </dgm:pt>
    <dgm:pt modelId="{2FB1863E-40E3-1344-98AB-13BDF691B902}" type="pres">
      <dgm:prSet presAssocID="{FD982760-0C4F-5943-BE8B-B715994CC647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CF5CA9A8-0DFB-D643-BBCF-B47E1C9C8AE5}" type="pres">
      <dgm:prSet presAssocID="{FD982760-0C4F-5943-BE8B-B715994CC647}" presName="desTx" presStyleLbl="alignAccFollowNode1" presStyleIdx="3" presStyleCnt="4" custScaleY="100000">
        <dgm:presLayoutVars>
          <dgm:bulletEnabled val="1"/>
        </dgm:presLayoutVars>
      </dgm:prSet>
      <dgm:spPr/>
    </dgm:pt>
  </dgm:ptLst>
  <dgm:cxnLst>
    <dgm:cxn modelId="{AB072402-8838-5B4A-A468-D65BAE4204EE}" srcId="{62F28E90-C8AD-A74C-B450-979D7198E462}" destId="{00F3B929-57FB-AE4D-A41B-B210C4497539}" srcOrd="2" destOrd="0" parTransId="{E37CDFA0-9963-024A-9F40-3A910C75DFDF}" sibTransId="{F9D11BE8-17B5-4142-A52A-F27A15261E83}"/>
    <dgm:cxn modelId="{EEB73003-A4D2-994C-957F-9170282CE1E2}" type="presOf" srcId="{9671AE25-B607-314E-B498-0A9103A7E4E5}" destId="{1512CDA6-6D14-1E44-ACD4-462DC92A85A6}" srcOrd="0" destOrd="0" presId="urn:microsoft.com/office/officeart/2005/8/layout/hList1"/>
    <dgm:cxn modelId="{E6352A0F-4F1B-5C4D-8546-BC18D5F93497}" type="presOf" srcId="{2D014940-CF89-6848-943D-5F842421F180}" destId="{C131BF89-108C-474A-97A3-6B729D788C61}" srcOrd="0" destOrd="0" presId="urn:microsoft.com/office/officeart/2005/8/layout/hList1"/>
    <dgm:cxn modelId="{74C93E11-1051-4840-B0F2-457A83B11FB7}" type="presOf" srcId="{576ADD2C-D871-1E48-9614-BDDAB4E4C48B}" destId="{CF5CA9A8-0DFB-D643-BBCF-B47E1C9C8AE5}" srcOrd="0" destOrd="2" presId="urn:microsoft.com/office/officeart/2005/8/layout/hList1"/>
    <dgm:cxn modelId="{476B672C-9543-C446-A080-31A397EB7D1C}" srcId="{62F28E90-C8AD-A74C-B450-979D7198E462}" destId="{FD982760-0C4F-5943-BE8B-B715994CC647}" srcOrd="3" destOrd="0" parTransId="{292F04CF-4206-4B42-8A77-A31478741B33}" sibTransId="{60B4BD74-D14E-0C49-9AC4-69C002D24A3D}"/>
    <dgm:cxn modelId="{84F41932-73B3-D946-A265-85C9DEBF8D9F}" srcId="{FD982760-0C4F-5943-BE8B-B715994CC647}" destId="{CD637434-E866-054C-AA45-8C8E434C0733}" srcOrd="3" destOrd="0" parTransId="{0C3DEA80-25A4-D24B-AC85-12DD43D83514}" sibTransId="{27E24E3C-26AF-BB43-8003-3D2A3927DEDD}"/>
    <dgm:cxn modelId="{F48DD133-C82E-8440-BE1D-2F0A198E93B1}" type="presOf" srcId="{00F3B929-57FB-AE4D-A41B-B210C4497539}" destId="{2CF20D30-2500-654F-A40F-4B976F247D6F}" srcOrd="0" destOrd="0" presId="urn:microsoft.com/office/officeart/2005/8/layout/hList1"/>
    <dgm:cxn modelId="{4336A234-48D9-EB44-A1CF-F0EE327525E0}" srcId="{00F3B929-57FB-AE4D-A41B-B210C4497539}" destId="{9C2FC7AE-ABF3-7442-BFF3-E37D22648830}" srcOrd="2" destOrd="0" parTransId="{CB753BB4-2D8A-6B4D-833E-B43E62BE5ECB}" sibTransId="{4771649F-EA2B-4441-BA1B-A68B323DBD8D}"/>
    <dgm:cxn modelId="{BCB7AA34-2F01-374D-8E97-2A00F6F63DF9}" srcId="{485A6028-49C3-6C4D-A7C3-AA6A94A82836}" destId="{A6A13320-1C1A-714F-8B05-C681B6132DAD}" srcOrd="0" destOrd="0" parTransId="{B7CE969B-6F16-4A45-B86D-26E3EC0EE165}" sibTransId="{45DB877D-233F-D349-9176-9B73D8B56EF1}"/>
    <dgm:cxn modelId="{64E4D735-887E-714F-90AE-1C21C8E83517}" srcId="{2D014940-CF89-6848-943D-5F842421F180}" destId="{DDB5E5F3-F20C-2643-A091-6F9F37857008}" srcOrd="1" destOrd="0" parTransId="{4A4714CC-035C-DC48-8535-8B24F1AD9F8C}" sibTransId="{AB2BFE67-FA72-DE4F-B631-5234CDF4D279}"/>
    <dgm:cxn modelId="{41B4B444-845B-9742-8A1B-3F3A03924299}" type="presOf" srcId="{A5FB3616-8658-C746-95C6-97A50B58494C}" destId="{B88B82D0-1663-9C4B-AA91-14A237904FEA}" srcOrd="0" destOrd="2" presId="urn:microsoft.com/office/officeart/2005/8/layout/hList1"/>
    <dgm:cxn modelId="{C40EC144-2063-D142-9C22-FFAE259B4349}" type="presOf" srcId="{E6D11049-2347-DF45-B449-1169D67A4EB7}" destId="{CF5CA9A8-0DFB-D643-BBCF-B47E1C9C8AE5}" srcOrd="0" destOrd="0" presId="urn:microsoft.com/office/officeart/2005/8/layout/hList1"/>
    <dgm:cxn modelId="{7DEFD645-47B5-0C45-887B-20D9C8FEDCB5}" srcId="{2D014940-CF89-6848-943D-5F842421F180}" destId="{9671AE25-B607-314E-B498-0A9103A7E4E5}" srcOrd="0" destOrd="0" parTransId="{E31360CE-B788-A84F-A5F0-9D83675C3937}" sibTransId="{5D0E8F79-460C-E940-BFB1-67EA7660E709}"/>
    <dgm:cxn modelId="{00CFDE4E-68CB-CE43-B976-60C7D5F97051}" type="presOf" srcId="{6A19C635-1437-704C-8E4D-0C4BAB05ED8D}" destId="{B88B82D0-1663-9C4B-AA91-14A237904FEA}" srcOrd="0" destOrd="1" presId="urn:microsoft.com/office/officeart/2005/8/layout/hList1"/>
    <dgm:cxn modelId="{D1843852-EDB1-444E-B0B1-DB3153ABA42D}" type="presOf" srcId="{62F28E90-C8AD-A74C-B450-979D7198E462}" destId="{6C6728DE-7AA0-3945-B2BD-C6544A303E24}" srcOrd="0" destOrd="0" presId="urn:microsoft.com/office/officeart/2005/8/layout/hList1"/>
    <dgm:cxn modelId="{9F6BEA53-2162-A443-BFFF-EAB2A7FA4401}" type="presOf" srcId="{82B6C18A-AF32-0142-B1DE-5D8543AF24D9}" destId="{CF5CA9A8-0DFB-D643-BBCF-B47E1C9C8AE5}" srcOrd="0" destOrd="1" presId="urn:microsoft.com/office/officeart/2005/8/layout/hList1"/>
    <dgm:cxn modelId="{CE675A55-0448-944A-BCCA-9F8DD94CC1B1}" type="presOf" srcId="{DDB5E5F3-F20C-2643-A091-6F9F37857008}" destId="{1512CDA6-6D14-1E44-ACD4-462DC92A85A6}" srcOrd="0" destOrd="1" presId="urn:microsoft.com/office/officeart/2005/8/layout/hList1"/>
    <dgm:cxn modelId="{16DF0256-781C-EE4E-A3BB-3195E05BEA76}" srcId="{62F28E90-C8AD-A74C-B450-979D7198E462}" destId="{2D014940-CF89-6848-943D-5F842421F180}" srcOrd="0" destOrd="0" parTransId="{6057154A-24CA-5C4E-BEB5-BA82BCB1D137}" sibTransId="{4B0D7167-1C2D-3A47-88A6-83F1C4A8B6B8}"/>
    <dgm:cxn modelId="{8B34E35E-963A-E048-A44A-5F81185D7087}" type="presOf" srcId="{E394196D-3794-5244-9ECE-245CFF79B055}" destId="{D44BC1EA-43D0-7546-8944-C58F55B7D472}" srcOrd="0" destOrd="1" presId="urn:microsoft.com/office/officeart/2005/8/layout/hList1"/>
    <dgm:cxn modelId="{B699DF5F-7E31-444C-AAB8-D7AE7400D680}" type="presOf" srcId="{E43E98E1-C11D-4343-AD56-02B11007A4A7}" destId="{1512CDA6-6D14-1E44-ACD4-462DC92A85A6}" srcOrd="0" destOrd="2" presId="urn:microsoft.com/office/officeart/2005/8/layout/hList1"/>
    <dgm:cxn modelId="{B8B7987D-250C-D147-B5E4-C791F6FBEF5C}" srcId="{FD982760-0C4F-5943-BE8B-B715994CC647}" destId="{82B6C18A-AF32-0142-B1DE-5D8543AF24D9}" srcOrd="1" destOrd="0" parTransId="{10638D42-856A-F44E-9776-5E4D1E916E97}" sibTransId="{1BA4EF7E-0ACD-4C47-BBDC-88EECD616DE7}"/>
    <dgm:cxn modelId="{DC7ACA7D-9904-C140-A307-33B788371AD2}" type="presOf" srcId="{A6A13320-1C1A-714F-8B05-C681B6132DAD}" destId="{B88B82D0-1663-9C4B-AA91-14A237904FEA}" srcOrd="0" destOrd="0" presId="urn:microsoft.com/office/officeart/2005/8/layout/hList1"/>
    <dgm:cxn modelId="{1123FC82-9CBA-9143-ACB0-50719E22ECBB}" srcId="{62F28E90-C8AD-A74C-B450-979D7198E462}" destId="{485A6028-49C3-6C4D-A7C3-AA6A94A82836}" srcOrd="1" destOrd="0" parTransId="{02B60D0F-9B6E-8645-8F2D-784DB9913418}" sibTransId="{73D1A611-7B68-1644-89C7-EDB8FF55C738}"/>
    <dgm:cxn modelId="{B44E9E90-8C15-3346-969D-E3E1EE396B93}" type="presOf" srcId="{9C2FC7AE-ABF3-7442-BFF3-E37D22648830}" destId="{D44BC1EA-43D0-7546-8944-C58F55B7D472}" srcOrd="0" destOrd="2" presId="urn:microsoft.com/office/officeart/2005/8/layout/hList1"/>
    <dgm:cxn modelId="{A93C9595-1F07-5345-A65C-E2EA4E40D2D3}" srcId="{00F3B929-57FB-AE4D-A41B-B210C4497539}" destId="{E394196D-3794-5244-9ECE-245CFF79B055}" srcOrd="1" destOrd="0" parTransId="{7AC80720-B443-B74D-A14D-88E2C58C7C4E}" sibTransId="{14AB7322-6521-AE41-87FA-F223013B2D0F}"/>
    <dgm:cxn modelId="{9F1ED798-8B9A-8844-8176-CEC01BEA5B3C}" type="presOf" srcId="{01778BDD-DA03-E54D-8019-60B6BF5457EB}" destId="{D44BC1EA-43D0-7546-8944-C58F55B7D472}" srcOrd="0" destOrd="0" presId="urn:microsoft.com/office/officeart/2005/8/layout/hList1"/>
    <dgm:cxn modelId="{B1A3589D-8826-354A-B92A-35C32B0C97E5}" type="presOf" srcId="{FD982760-0C4F-5943-BE8B-B715994CC647}" destId="{2FB1863E-40E3-1344-98AB-13BDF691B902}" srcOrd="0" destOrd="0" presId="urn:microsoft.com/office/officeart/2005/8/layout/hList1"/>
    <dgm:cxn modelId="{E4EDD9B0-26D5-C74B-9DCB-F00A2E3BE2CF}" type="presOf" srcId="{485A6028-49C3-6C4D-A7C3-AA6A94A82836}" destId="{4492E4DD-4575-454F-B372-D84498DE67C0}" srcOrd="0" destOrd="0" presId="urn:microsoft.com/office/officeart/2005/8/layout/hList1"/>
    <dgm:cxn modelId="{92B02DB3-EB49-A049-B073-7F3D84B89913}" srcId="{485A6028-49C3-6C4D-A7C3-AA6A94A82836}" destId="{A5FB3616-8658-C746-95C6-97A50B58494C}" srcOrd="2" destOrd="0" parTransId="{E7FFCC4F-1180-B248-A874-65CAEAA38B3D}" sibTransId="{21B517F6-26C4-E84F-B861-D9CA557C3CEA}"/>
    <dgm:cxn modelId="{3E30FBC7-4301-0444-A06A-C964845FA6C7}" type="presOf" srcId="{CD637434-E866-054C-AA45-8C8E434C0733}" destId="{CF5CA9A8-0DFB-D643-BBCF-B47E1C9C8AE5}" srcOrd="0" destOrd="3" presId="urn:microsoft.com/office/officeart/2005/8/layout/hList1"/>
    <dgm:cxn modelId="{837F69CF-96D0-2F46-B8B3-308794823384}" srcId="{FD982760-0C4F-5943-BE8B-B715994CC647}" destId="{576ADD2C-D871-1E48-9614-BDDAB4E4C48B}" srcOrd="2" destOrd="0" parTransId="{39449794-C62E-2648-B6F0-DED3CBF86B7E}" sibTransId="{B1D88B49-4105-B240-ADA5-242F133F7184}"/>
    <dgm:cxn modelId="{D3BD12D6-1F5C-764F-8636-0EB102F8BE79}" srcId="{2D014940-CF89-6848-943D-5F842421F180}" destId="{E43E98E1-C11D-4343-AD56-02B11007A4A7}" srcOrd="2" destOrd="0" parTransId="{6512F590-AE80-A04C-B4F0-BBB9DCFFE082}" sibTransId="{FD8E510B-9524-A64E-AF1E-D858A1E8215B}"/>
    <dgm:cxn modelId="{0C72E0E1-F733-654B-995E-6F3D65AADDAD}" srcId="{FD982760-0C4F-5943-BE8B-B715994CC647}" destId="{E6D11049-2347-DF45-B449-1169D67A4EB7}" srcOrd="0" destOrd="0" parTransId="{F03F1DE2-102F-FE4E-8806-EE91735F4E4C}" sibTransId="{01CB6404-56E0-2F40-B799-3BF31E15AB15}"/>
    <dgm:cxn modelId="{B622F5E7-981F-3C44-A776-6038C1A8B221}" srcId="{485A6028-49C3-6C4D-A7C3-AA6A94A82836}" destId="{6A19C635-1437-704C-8E4D-0C4BAB05ED8D}" srcOrd="1" destOrd="0" parTransId="{48E54812-29ED-4845-8FD3-376FE6D969AF}" sibTransId="{027B7745-C371-C84A-B1D7-BAEB1B008A74}"/>
    <dgm:cxn modelId="{C482B5EC-D290-DD47-AD77-1AF679D89ED9}" srcId="{00F3B929-57FB-AE4D-A41B-B210C4497539}" destId="{01778BDD-DA03-E54D-8019-60B6BF5457EB}" srcOrd="0" destOrd="0" parTransId="{AC969B23-D709-494F-988C-11C72A951BC1}" sibTransId="{CA7E8570-55F8-7A40-B0E1-E4FB56A2C370}"/>
    <dgm:cxn modelId="{EB067059-219C-874A-97B0-2876E5BD3D41}" type="presParOf" srcId="{6C6728DE-7AA0-3945-B2BD-C6544A303E24}" destId="{D3FB7935-0C3E-EF4B-89BA-CB37DDF96B8B}" srcOrd="0" destOrd="0" presId="urn:microsoft.com/office/officeart/2005/8/layout/hList1"/>
    <dgm:cxn modelId="{6871AFB8-D621-B846-B5E2-425DF322F374}" type="presParOf" srcId="{D3FB7935-0C3E-EF4B-89BA-CB37DDF96B8B}" destId="{C131BF89-108C-474A-97A3-6B729D788C61}" srcOrd="0" destOrd="0" presId="urn:microsoft.com/office/officeart/2005/8/layout/hList1"/>
    <dgm:cxn modelId="{04240E37-B345-AA4D-AB67-72B17A8185BD}" type="presParOf" srcId="{D3FB7935-0C3E-EF4B-89BA-CB37DDF96B8B}" destId="{1512CDA6-6D14-1E44-ACD4-462DC92A85A6}" srcOrd="1" destOrd="0" presId="urn:microsoft.com/office/officeart/2005/8/layout/hList1"/>
    <dgm:cxn modelId="{8CE87D7E-5A2B-AE42-BD76-9EEFB024A09C}" type="presParOf" srcId="{6C6728DE-7AA0-3945-B2BD-C6544A303E24}" destId="{E97EE050-4798-0442-8D85-7962CEEDC9F6}" srcOrd="1" destOrd="0" presId="urn:microsoft.com/office/officeart/2005/8/layout/hList1"/>
    <dgm:cxn modelId="{DE1A710B-C32A-0543-B8C9-658BE86C981B}" type="presParOf" srcId="{6C6728DE-7AA0-3945-B2BD-C6544A303E24}" destId="{FFDC7E43-064E-5547-B04E-F595C819EAEF}" srcOrd="2" destOrd="0" presId="urn:microsoft.com/office/officeart/2005/8/layout/hList1"/>
    <dgm:cxn modelId="{1AE0F90F-B734-884B-BFB8-3317BA94AD89}" type="presParOf" srcId="{FFDC7E43-064E-5547-B04E-F595C819EAEF}" destId="{4492E4DD-4575-454F-B372-D84498DE67C0}" srcOrd="0" destOrd="0" presId="urn:microsoft.com/office/officeart/2005/8/layout/hList1"/>
    <dgm:cxn modelId="{9C14969D-D555-A744-971D-914B7BECF07D}" type="presParOf" srcId="{FFDC7E43-064E-5547-B04E-F595C819EAEF}" destId="{B88B82D0-1663-9C4B-AA91-14A237904FEA}" srcOrd="1" destOrd="0" presId="urn:microsoft.com/office/officeart/2005/8/layout/hList1"/>
    <dgm:cxn modelId="{75161C46-F7EE-374F-8B47-0A2109E85DB0}" type="presParOf" srcId="{6C6728DE-7AA0-3945-B2BD-C6544A303E24}" destId="{46BE93C8-6983-5A4F-874C-2631ED632083}" srcOrd="3" destOrd="0" presId="urn:microsoft.com/office/officeart/2005/8/layout/hList1"/>
    <dgm:cxn modelId="{588ACCDD-EDA1-ED4E-ADC3-B9A75FB1D00B}" type="presParOf" srcId="{6C6728DE-7AA0-3945-B2BD-C6544A303E24}" destId="{64259239-4D52-C941-B84D-55F269D71231}" srcOrd="4" destOrd="0" presId="urn:microsoft.com/office/officeart/2005/8/layout/hList1"/>
    <dgm:cxn modelId="{B467FD1F-EB39-FD4A-80D5-28A3EC342B3C}" type="presParOf" srcId="{64259239-4D52-C941-B84D-55F269D71231}" destId="{2CF20D30-2500-654F-A40F-4B976F247D6F}" srcOrd="0" destOrd="0" presId="urn:microsoft.com/office/officeart/2005/8/layout/hList1"/>
    <dgm:cxn modelId="{13CAF721-16F6-1A46-AA85-7D6426D398E7}" type="presParOf" srcId="{64259239-4D52-C941-B84D-55F269D71231}" destId="{D44BC1EA-43D0-7546-8944-C58F55B7D472}" srcOrd="1" destOrd="0" presId="urn:microsoft.com/office/officeart/2005/8/layout/hList1"/>
    <dgm:cxn modelId="{ADA0DE18-4169-844C-9545-570B781B8DA1}" type="presParOf" srcId="{6C6728DE-7AA0-3945-B2BD-C6544A303E24}" destId="{26CDA03E-27C1-5C4C-9107-2D3ABAC5948F}" srcOrd="5" destOrd="0" presId="urn:microsoft.com/office/officeart/2005/8/layout/hList1"/>
    <dgm:cxn modelId="{3B1F2DFB-444E-8644-854E-0E4131051116}" type="presParOf" srcId="{6C6728DE-7AA0-3945-B2BD-C6544A303E24}" destId="{53213668-FD19-3345-9840-A26A795A61DE}" srcOrd="6" destOrd="0" presId="urn:microsoft.com/office/officeart/2005/8/layout/hList1"/>
    <dgm:cxn modelId="{D35ECEDB-2B8F-EC42-97EE-3F4A0EC0EB1B}" type="presParOf" srcId="{53213668-FD19-3345-9840-A26A795A61DE}" destId="{2FB1863E-40E3-1344-98AB-13BDF691B902}" srcOrd="0" destOrd="0" presId="urn:microsoft.com/office/officeart/2005/8/layout/hList1"/>
    <dgm:cxn modelId="{AEC08FED-D86F-D542-86E2-6DF72C17861A}" type="presParOf" srcId="{53213668-FD19-3345-9840-A26A795A61DE}" destId="{CF5CA9A8-0DFB-D643-BBCF-B47E1C9C8AE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3E2F1D1-360B-4DFF-8B3E-7A0480FA2199}" type="doc">
      <dgm:prSet loTypeId="urn:microsoft.com/office/officeart/2005/8/layout/chevron1" loCatId="process" qsTypeId="urn:microsoft.com/office/officeart/2005/8/quickstyle/simple1#1" qsCatId="simple" csTypeId="urn:microsoft.com/office/officeart/2005/8/colors/accent1_1#5" csCatId="accent1" phldr="1"/>
      <dgm:spPr/>
    </dgm:pt>
    <dgm:pt modelId="{9BF9F257-8AA1-4884-82E7-D0FBEB140172}">
      <dgm:prSet phldrT="[文本]" custT="1"/>
      <dgm:spPr/>
      <dgm:t>
        <a:bodyPr/>
        <a:lstStyle/>
        <a:p>
          <a:r>
            <a:rPr lang="zh-CN" altLang="en-US" sz="16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空间配置</a:t>
          </a:r>
        </a:p>
      </dgm:t>
    </dgm:pt>
    <dgm:pt modelId="{F9E2886C-96BD-4BA7-9072-75C9628DF22F}" type="parTrans" cxnId="{EDECDF99-CE6B-471E-984A-08C6DDF9FBDF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9C410666-94B7-41AA-A5A0-948979B1B303}" type="sibTrans" cxnId="{EDECDF99-CE6B-471E-984A-08C6DDF9FBDF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7BA8313D-8C09-4314-9637-731292CBC83C}">
      <dgm:prSet phldrT="[文本]" custT="1"/>
      <dgm:spPr/>
      <dgm:t>
        <a:bodyPr/>
        <a:lstStyle/>
        <a:p>
          <a:r>
            <a:rPr lang="zh-CN" altLang="en-US" sz="16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产品规划</a:t>
          </a:r>
        </a:p>
      </dgm:t>
    </dgm:pt>
    <dgm:pt modelId="{645DC388-2576-44B7-9F16-D6B4FC3BEAC1}" type="parTrans" cxnId="{D4FB5058-5C8A-4256-A3DB-6D2505396F66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D6404340-BDF4-4F66-920B-0162CA6D5229}" type="sibTrans" cxnId="{D4FB5058-5C8A-4256-A3DB-6D2505396F66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C283FA72-CECD-45CD-8757-CEBC1A4221FD}">
      <dgm:prSet custT="1"/>
      <dgm:spPr/>
      <dgm:t>
        <a:bodyPr/>
        <a:lstStyle/>
        <a:p>
          <a:r>
            <a:rPr lang="zh-CN" altLang="en-US" sz="16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迭代计划</a:t>
          </a:r>
          <a:endParaRPr lang="en-US" altLang="zh-CN" sz="1600" b="1" dirty="0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58D46031-4B37-4A7C-BA2E-95F3BEFA5450}" type="parTrans" cxnId="{14E74B39-07B8-486C-8AEF-A29B9D1D13B4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56EF64EC-F736-4A42-9234-C53AF2EC327E}" type="sibTrans" cxnId="{14E74B39-07B8-486C-8AEF-A29B9D1D13B4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F7F02C57-F794-4829-816A-8ADA1A646B5F}">
      <dgm:prSet custT="1"/>
      <dgm:spPr/>
      <dgm:t>
        <a:bodyPr/>
        <a:lstStyle/>
        <a:p>
          <a:r>
            <a:rPr lang="zh-CN" altLang="en-US" sz="16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迭代执行</a:t>
          </a:r>
        </a:p>
      </dgm:t>
    </dgm:pt>
    <dgm:pt modelId="{4FF14B74-898E-4340-AE78-F14F54FA898E}" type="parTrans" cxnId="{04AE1B00-76D9-4CAE-A9CA-8DA85EFEA18B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5D66FAB0-5F3B-4E88-A460-F1AD586F4A90}" type="sibTrans" cxnId="{04AE1B00-76D9-4CAE-A9CA-8DA85EFEA18B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ADB0E6A0-597F-4355-A94B-F9106C2FC297}">
      <dgm:prSet custT="1"/>
      <dgm:spPr/>
      <dgm:t>
        <a:bodyPr/>
        <a:lstStyle/>
        <a:p>
          <a:r>
            <a:rPr lang="en-US" altLang="zh-CN" sz="13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showcase</a:t>
          </a:r>
          <a:endParaRPr lang="zh-CN" altLang="en-US" sz="1300" b="1" dirty="0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E89F0154-E648-4FE9-B4D7-A45C73258537}" type="parTrans" cxnId="{135A098A-A694-4CAA-A185-6B14C58CEF58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EF791709-250D-4FF0-9B88-78FD939A01F9}" type="sibTrans" cxnId="{135A098A-A694-4CAA-A185-6B14C58CEF58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79B09C74-4B47-45CC-B14C-97FE958DDD10}">
      <dgm:prSet custT="1"/>
      <dgm:spPr/>
      <dgm:t>
        <a:bodyPr/>
        <a:lstStyle/>
        <a:p>
          <a:r>
            <a:rPr lang="zh-CN" altLang="en-US" sz="16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回顾</a:t>
          </a:r>
        </a:p>
      </dgm:t>
    </dgm:pt>
    <dgm:pt modelId="{E44E42D3-9FBB-4D8F-8A4B-A70FE356537D}" type="parTrans" cxnId="{518EE940-8EAB-4063-A0EE-B7581EA28221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BAD4962B-4E42-4F51-AF82-04CAFA5E9A0A}" type="sibTrans" cxnId="{518EE940-8EAB-4063-A0EE-B7581EA28221}">
      <dgm:prSet/>
      <dgm:spPr/>
      <dgm:t>
        <a:bodyPr/>
        <a:lstStyle/>
        <a:p>
          <a:endParaRPr lang="zh-CN" altLang="en-US" sz="2400" b="1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gm:t>
    </dgm:pt>
    <dgm:pt modelId="{5CF2B12A-6C8F-4E68-A572-3EDBD3F899D1}" type="pres">
      <dgm:prSet presAssocID="{93E2F1D1-360B-4DFF-8B3E-7A0480FA2199}" presName="Name0" presStyleCnt="0">
        <dgm:presLayoutVars>
          <dgm:dir/>
          <dgm:animLvl val="lvl"/>
          <dgm:resizeHandles val="exact"/>
        </dgm:presLayoutVars>
      </dgm:prSet>
      <dgm:spPr/>
    </dgm:pt>
    <dgm:pt modelId="{59B237D4-C896-464B-8B66-907E7BC384C0}" type="pres">
      <dgm:prSet presAssocID="{9BF9F257-8AA1-4884-82E7-D0FBEB140172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6DC5E9E8-AE98-4EBC-9670-F707EB7EC751}" type="pres">
      <dgm:prSet presAssocID="{9C410666-94B7-41AA-A5A0-948979B1B303}" presName="parTxOnlySpace" presStyleCnt="0"/>
      <dgm:spPr/>
    </dgm:pt>
    <dgm:pt modelId="{A86E4080-92AD-4939-B332-E07C48764045}" type="pres">
      <dgm:prSet presAssocID="{7BA8313D-8C09-4314-9637-731292CBC83C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642A9323-1F67-4A5D-8857-DF1A6BD242AE}" type="pres">
      <dgm:prSet presAssocID="{D6404340-BDF4-4F66-920B-0162CA6D5229}" presName="parTxOnlySpace" presStyleCnt="0"/>
      <dgm:spPr/>
    </dgm:pt>
    <dgm:pt modelId="{46C46EFF-D58B-4C32-A605-AB030B188E8A}" type="pres">
      <dgm:prSet presAssocID="{C283FA72-CECD-45CD-8757-CEBC1A4221FD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AE4BA504-6F3B-4F28-BB59-4E979864B31E}" type="pres">
      <dgm:prSet presAssocID="{56EF64EC-F736-4A42-9234-C53AF2EC327E}" presName="parTxOnlySpace" presStyleCnt="0"/>
      <dgm:spPr/>
    </dgm:pt>
    <dgm:pt modelId="{53248EB4-CEF6-4177-84FC-8846ABBB4977}" type="pres">
      <dgm:prSet presAssocID="{F7F02C57-F794-4829-816A-8ADA1A646B5F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B52DE6A5-CFDA-47E7-BAA7-D6D3087952FC}" type="pres">
      <dgm:prSet presAssocID="{5D66FAB0-5F3B-4E88-A460-F1AD586F4A90}" presName="parTxOnlySpace" presStyleCnt="0"/>
      <dgm:spPr/>
    </dgm:pt>
    <dgm:pt modelId="{B980CE8B-C3C6-4D16-BF96-7D51B6888099}" type="pres">
      <dgm:prSet presAssocID="{ADB0E6A0-597F-4355-A94B-F9106C2FC297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B7E30B39-CAB3-4860-AE94-B9958E35FF38}" type="pres">
      <dgm:prSet presAssocID="{EF791709-250D-4FF0-9B88-78FD939A01F9}" presName="parTxOnlySpace" presStyleCnt="0"/>
      <dgm:spPr/>
    </dgm:pt>
    <dgm:pt modelId="{ABEC49F3-BDF7-424B-9830-26B6CE2FFD7D}" type="pres">
      <dgm:prSet presAssocID="{79B09C74-4B47-45CC-B14C-97FE958DDD10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04AE1B00-76D9-4CAE-A9CA-8DA85EFEA18B}" srcId="{93E2F1D1-360B-4DFF-8B3E-7A0480FA2199}" destId="{F7F02C57-F794-4829-816A-8ADA1A646B5F}" srcOrd="3" destOrd="0" parTransId="{4FF14B74-898E-4340-AE78-F14F54FA898E}" sibTransId="{5D66FAB0-5F3B-4E88-A460-F1AD586F4A90}"/>
    <dgm:cxn modelId="{3BBC8C23-6DA4-BC4F-84A1-179A81F7F686}" type="presOf" srcId="{93E2F1D1-360B-4DFF-8B3E-7A0480FA2199}" destId="{5CF2B12A-6C8F-4E68-A572-3EDBD3F899D1}" srcOrd="0" destOrd="0" presId="urn:microsoft.com/office/officeart/2005/8/layout/chevron1"/>
    <dgm:cxn modelId="{14E74B39-07B8-486C-8AEF-A29B9D1D13B4}" srcId="{93E2F1D1-360B-4DFF-8B3E-7A0480FA2199}" destId="{C283FA72-CECD-45CD-8757-CEBC1A4221FD}" srcOrd="2" destOrd="0" parTransId="{58D46031-4B37-4A7C-BA2E-95F3BEFA5450}" sibTransId="{56EF64EC-F736-4A42-9234-C53AF2EC327E}"/>
    <dgm:cxn modelId="{518EE940-8EAB-4063-A0EE-B7581EA28221}" srcId="{93E2F1D1-360B-4DFF-8B3E-7A0480FA2199}" destId="{79B09C74-4B47-45CC-B14C-97FE958DDD10}" srcOrd="5" destOrd="0" parTransId="{E44E42D3-9FBB-4D8F-8A4B-A70FE356537D}" sibTransId="{BAD4962B-4E42-4F51-AF82-04CAFA5E9A0A}"/>
    <dgm:cxn modelId="{CF6FBE45-64D0-8F41-96F3-E3ADB044B67D}" type="presOf" srcId="{9BF9F257-8AA1-4884-82E7-D0FBEB140172}" destId="{59B237D4-C896-464B-8B66-907E7BC384C0}" srcOrd="0" destOrd="0" presId="urn:microsoft.com/office/officeart/2005/8/layout/chevron1"/>
    <dgm:cxn modelId="{D4FB5058-5C8A-4256-A3DB-6D2505396F66}" srcId="{93E2F1D1-360B-4DFF-8B3E-7A0480FA2199}" destId="{7BA8313D-8C09-4314-9637-731292CBC83C}" srcOrd="1" destOrd="0" parTransId="{645DC388-2576-44B7-9F16-D6B4FC3BEAC1}" sibTransId="{D6404340-BDF4-4F66-920B-0162CA6D5229}"/>
    <dgm:cxn modelId="{79FE7865-54F2-554A-9212-1F57646E5590}" type="presOf" srcId="{7BA8313D-8C09-4314-9637-731292CBC83C}" destId="{A86E4080-92AD-4939-B332-E07C48764045}" srcOrd="0" destOrd="0" presId="urn:microsoft.com/office/officeart/2005/8/layout/chevron1"/>
    <dgm:cxn modelId="{BCF5557F-33D9-484B-96E5-13682CB7C45B}" type="presOf" srcId="{F7F02C57-F794-4829-816A-8ADA1A646B5F}" destId="{53248EB4-CEF6-4177-84FC-8846ABBB4977}" srcOrd="0" destOrd="0" presId="urn:microsoft.com/office/officeart/2005/8/layout/chevron1"/>
    <dgm:cxn modelId="{E35ECF86-A1A5-D24D-A8DB-3E7394ED41E9}" type="presOf" srcId="{79B09C74-4B47-45CC-B14C-97FE958DDD10}" destId="{ABEC49F3-BDF7-424B-9830-26B6CE2FFD7D}" srcOrd="0" destOrd="0" presId="urn:microsoft.com/office/officeart/2005/8/layout/chevron1"/>
    <dgm:cxn modelId="{135A098A-A694-4CAA-A185-6B14C58CEF58}" srcId="{93E2F1D1-360B-4DFF-8B3E-7A0480FA2199}" destId="{ADB0E6A0-597F-4355-A94B-F9106C2FC297}" srcOrd="4" destOrd="0" parTransId="{E89F0154-E648-4FE9-B4D7-A45C73258537}" sibTransId="{EF791709-250D-4FF0-9B88-78FD939A01F9}"/>
    <dgm:cxn modelId="{EDECDF99-CE6B-471E-984A-08C6DDF9FBDF}" srcId="{93E2F1D1-360B-4DFF-8B3E-7A0480FA2199}" destId="{9BF9F257-8AA1-4884-82E7-D0FBEB140172}" srcOrd="0" destOrd="0" parTransId="{F9E2886C-96BD-4BA7-9072-75C9628DF22F}" sibTransId="{9C410666-94B7-41AA-A5A0-948979B1B303}"/>
    <dgm:cxn modelId="{13D5C0AA-5885-5944-88DD-728F62B0762B}" type="presOf" srcId="{ADB0E6A0-597F-4355-A94B-F9106C2FC297}" destId="{B980CE8B-C3C6-4D16-BF96-7D51B6888099}" srcOrd="0" destOrd="0" presId="urn:microsoft.com/office/officeart/2005/8/layout/chevron1"/>
    <dgm:cxn modelId="{A8D780E1-8605-F543-B514-27CF7B42E9B9}" type="presOf" srcId="{C283FA72-CECD-45CD-8757-CEBC1A4221FD}" destId="{46C46EFF-D58B-4C32-A605-AB030B188E8A}" srcOrd="0" destOrd="0" presId="urn:microsoft.com/office/officeart/2005/8/layout/chevron1"/>
    <dgm:cxn modelId="{7C44D343-84A8-674F-B27F-825419ED3ACE}" type="presParOf" srcId="{5CF2B12A-6C8F-4E68-A572-3EDBD3F899D1}" destId="{59B237D4-C896-464B-8B66-907E7BC384C0}" srcOrd="0" destOrd="0" presId="urn:microsoft.com/office/officeart/2005/8/layout/chevron1"/>
    <dgm:cxn modelId="{DBF00CE5-B925-7D4D-AA15-F1B3ECF8F376}" type="presParOf" srcId="{5CF2B12A-6C8F-4E68-A572-3EDBD3F899D1}" destId="{6DC5E9E8-AE98-4EBC-9670-F707EB7EC751}" srcOrd="1" destOrd="0" presId="urn:microsoft.com/office/officeart/2005/8/layout/chevron1"/>
    <dgm:cxn modelId="{7C475805-A7D4-0444-93E8-BC93BE50D4DA}" type="presParOf" srcId="{5CF2B12A-6C8F-4E68-A572-3EDBD3F899D1}" destId="{A86E4080-92AD-4939-B332-E07C48764045}" srcOrd="2" destOrd="0" presId="urn:microsoft.com/office/officeart/2005/8/layout/chevron1"/>
    <dgm:cxn modelId="{13CE286B-FE8E-C240-8790-2FDD57688FEE}" type="presParOf" srcId="{5CF2B12A-6C8F-4E68-A572-3EDBD3F899D1}" destId="{642A9323-1F67-4A5D-8857-DF1A6BD242AE}" srcOrd="3" destOrd="0" presId="urn:microsoft.com/office/officeart/2005/8/layout/chevron1"/>
    <dgm:cxn modelId="{B0CC4793-3D49-5C41-A444-E5B09B38E29E}" type="presParOf" srcId="{5CF2B12A-6C8F-4E68-A572-3EDBD3F899D1}" destId="{46C46EFF-D58B-4C32-A605-AB030B188E8A}" srcOrd="4" destOrd="0" presId="urn:microsoft.com/office/officeart/2005/8/layout/chevron1"/>
    <dgm:cxn modelId="{6E142938-04AA-0C48-A00D-1E466D73EB72}" type="presParOf" srcId="{5CF2B12A-6C8F-4E68-A572-3EDBD3F899D1}" destId="{AE4BA504-6F3B-4F28-BB59-4E979864B31E}" srcOrd="5" destOrd="0" presId="urn:microsoft.com/office/officeart/2005/8/layout/chevron1"/>
    <dgm:cxn modelId="{843472D3-F47E-F847-9545-3B723C3DC693}" type="presParOf" srcId="{5CF2B12A-6C8F-4E68-A572-3EDBD3F899D1}" destId="{53248EB4-CEF6-4177-84FC-8846ABBB4977}" srcOrd="6" destOrd="0" presId="urn:microsoft.com/office/officeart/2005/8/layout/chevron1"/>
    <dgm:cxn modelId="{0DC66E03-DAAA-7247-BA92-C2DB5BD78C40}" type="presParOf" srcId="{5CF2B12A-6C8F-4E68-A572-3EDBD3F899D1}" destId="{B52DE6A5-CFDA-47E7-BAA7-D6D3087952FC}" srcOrd="7" destOrd="0" presId="urn:microsoft.com/office/officeart/2005/8/layout/chevron1"/>
    <dgm:cxn modelId="{6816671B-1B09-6948-ADA4-952CF39113F3}" type="presParOf" srcId="{5CF2B12A-6C8F-4E68-A572-3EDBD3F899D1}" destId="{B980CE8B-C3C6-4D16-BF96-7D51B6888099}" srcOrd="8" destOrd="0" presId="urn:microsoft.com/office/officeart/2005/8/layout/chevron1"/>
    <dgm:cxn modelId="{DCA66139-7085-604B-B072-E702FDDD574F}" type="presParOf" srcId="{5CF2B12A-6C8F-4E68-A572-3EDBD3F899D1}" destId="{B7E30B39-CAB3-4860-AE94-B9958E35FF38}" srcOrd="9" destOrd="0" presId="urn:microsoft.com/office/officeart/2005/8/layout/chevron1"/>
    <dgm:cxn modelId="{6C84183A-D931-FD43-BF9A-8AFB60672722}" type="presParOf" srcId="{5CF2B12A-6C8F-4E68-A572-3EDBD3F899D1}" destId="{ABEC49F3-BDF7-424B-9830-26B6CE2FFD7D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1619D1F-084F-0C4B-8873-4F91AFECCE2C}" type="doc">
      <dgm:prSet loTypeId="urn:microsoft.com/office/officeart/2005/8/layout/hierarchy2#6" loCatId="" qsTypeId="urn:microsoft.com/office/officeart/2005/8/quickstyle/simple1#15" qsCatId="simple" csTypeId="urn:microsoft.com/office/officeart/2005/8/colors/accent1_2#12" csCatId="accent1" phldr="1"/>
      <dgm:spPr/>
      <dgm:t>
        <a:bodyPr/>
        <a:lstStyle/>
        <a:p>
          <a:endParaRPr lang="zh-CN" altLang="en-US"/>
        </a:p>
      </dgm:t>
    </dgm:pt>
    <dgm:pt modelId="{90CBA2C9-01D1-9D4B-B8DC-488824CE961D}">
      <dgm:prSet phldrT="[文本]"/>
      <dgm:spPr/>
      <dgm:t>
        <a:bodyPr/>
        <a:lstStyle/>
        <a:p>
          <a:r>
            <a:rPr lang="en-US" altLang="en-US" dirty="0"/>
            <a:t>Epic</a:t>
          </a:r>
          <a:endParaRPr lang="zh-CN" altLang="en-US" dirty="0"/>
        </a:p>
      </dgm:t>
    </dgm:pt>
    <dgm:pt modelId="{0C18E361-C823-684F-9091-DA337E85DE2A}" type="parTrans" cxnId="{5EF6ED57-2023-FA40-9201-3FB33CFCD0DF}">
      <dgm:prSet/>
      <dgm:spPr/>
      <dgm:t>
        <a:bodyPr/>
        <a:lstStyle/>
        <a:p>
          <a:endParaRPr lang="zh-CN" altLang="en-US"/>
        </a:p>
      </dgm:t>
    </dgm:pt>
    <dgm:pt modelId="{D2102A65-EF3E-8849-B4F2-826444DDA64D}" type="sibTrans" cxnId="{5EF6ED57-2023-FA40-9201-3FB33CFCD0DF}">
      <dgm:prSet/>
      <dgm:spPr/>
      <dgm:t>
        <a:bodyPr/>
        <a:lstStyle/>
        <a:p>
          <a:endParaRPr lang="zh-CN" altLang="en-US"/>
        </a:p>
      </dgm:t>
    </dgm:pt>
    <dgm:pt modelId="{797AFE9C-998E-D84D-BD84-E9BBF63D4DF7}">
      <dgm:prSet phldrT="[文本]"/>
      <dgm:spPr/>
      <dgm:t>
        <a:bodyPr/>
        <a:lstStyle/>
        <a:p>
          <a:r>
            <a:rPr lang="en-US" altLang="en-US" dirty="0"/>
            <a:t>Feature</a:t>
          </a:r>
          <a:endParaRPr lang="zh-CN" altLang="en-US" dirty="0"/>
        </a:p>
      </dgm:t>
    </dgm:pt>
    <dgm:pt modelId="{48B5BC82-57A3-AD40-845A-25149343745F}" type="parTrans" cxnId="{20FBE5EF-A844-9F41-98C3-224253FDFC31}">
      <dgm:prSet/>
      <dgm:spPr/>
      <dgm:t>
        <a:bodyPr/>
        <a:lstStyle/>
        <a:p>
          <a:endParaRPr lang="zh-CN" altLang="en-US"/>
        </a:p>
      </dgm:t>
    </dgm:pt>
    <dgm:pt modelId="{5D7558A1-7005-0A48-B7FB-2B929F131B67}" type="sibTrans" cxnId="{20FBE5EF-A844-9F41-98C3-224253FDFC31}">
      <dgm:prSet/>
      <dgm:spPr/>
      <dgm:t>
        <a:bodyPr/>
        <a:lstStyle/>
        <a:p>
          <a:endParaRPr lang="zh-CN" altLang="en-US"/>
        </a:p>
      </dgm:t>
    </dgm:pt>
    <dgm:pt modelId="{DC2C7614-79C1-3748-B6E5-808A70471F99}">
      <dgm:prSet phldrT="[文本]"/>
      <dgm:spPr/>
      <dgm:t>
        <a:bodyPr/>
        <a:lstStyle/>
        <a:p>
          <a:r>
            <a:rPr lang="en-US" altLang="zh-CN" dirty="0"/>
            <a:t>S</a:t>
          </a:r>
          <a:r>
            <a:rPr lang="en-US" altLang="en-US" dirty="0"/>
            <a:t>tory</a:t>
          </a:r>
          <a:endParaRPr lang="zh-CN" altLang="en-US" dirty="0"/>
        </a:p>
      </dgm:t>
    </dgm:pt>
    <dgm:pt modelId="{7774DC50-D877-5D43-BBE9-6A13BE782440}" type="parTrans" cxnId="{466CC35A-EDDD-6446-BCD8-A49A9F27FACC}">
      <dgm:prSet/>
      <dgm:spPr/>
      <dgm:t>
        <a:bodyPr/>
        <a:lstStyle/>
        <a:p>
          <a:endParaRPr lang="zh-CN" altLang="en-US"/>
        </a:p>
      </dgm:t>
    </dgm:pt>
    <dgm:pt modelId="{380EDE04-51B2-DA42-B5D0-6CBAC04C5058}" type="sibTrans" cxnId="{466CC35A-EDDD-6446-BCD8-A49A9F27FACC}">
      <dgm:prSet/>
      <dgm:spPr/>
      <dgm:t>
        <a:bodyPr/>
        <a:lstStyle/>
        <a:p>
          <a:endParaRPr lang="zh-CN" altLang="en-US"/>
        </a:p>
      </dgm:t>
    </dgm:pt>
    <dgm:pt modelId="{BCD55776-20B7-7C4C-9260-54F95F0F7ED9}">
      <dgm:prSet phldrT="[文本]"/>
      <dgm:spPr/>
      <dgm:t>
        <a:bodyPr/>
        <a:lstStyle/>
        <a:p>
          <a:r>
            <a:rPr lang="en-US" altLang="zh-CN" dirty="0"/>
            <a:t>S</a:t>
          </a:r>
          <a:r>
            <a:rPr lang="en-US" altLang="en-US" dirty="0"/>
            <a:t>tory</a:t>
          </a:r>
          <a:endParaRPr lang="zh-CN" altLang="en-US" dirty="0"/>
        </a:p>
      </dgm:t>
    </dgm:pt>
    <dgm:pt modelId="{9B671BF0-FD21-8E4D-B7EA-95A0CD75E901}" type="parTrans" cxnId="{2C060055-D2A1-CB40-A2BB-BD20030598D0}">
      <dgm:prSet/>
      <dgm:spPr/>
      <dgm:t>
        <a:bodyPr/>
        <a:lstStyle/>
        <a:p>
          <a:endParaRPr lang="zh-CN" altLang="en-US"/>
        </a:p>
      </dgm:t>
    </dgm:pt>
    <dgm:pt modelId="{8276430E-CE88-2C46-83FB-A7C179DA49E7}" type="sibTrans" cxnId="{2C060055-D2A1-CB40-A2BB-BD20030598D0}">
      <dgm:prSet/>
      <dgm:spPr/>
      <dgm:t>
        <a:bodyPr/>
        <a:lstStyle/>
        <a:p>
          <a:endParaRPr lang="zh-CN" altLang="en-US"/>
        </a:p>
      </dgm:t>
    </dgm:pt>
    <dgm:pt modelId="{02B10FBF-6C9E-6B4D-9537-7E058700B0DF}">
      <dgm:prSet phldrT="[文本]"/>
      <dgm:spPr/>
      <dgm:t>
        <a:bodyPr/>
        <a:lstStyle/>
        <a:p>
          <a:r>
            <a:rPr lang="en-US" altLang="en-US" dirty="0"/>
            <a:t>Tech </a:t>
          </a:r>
          <a:r>
            <a:rPr lang="en-US" altLang="zh-CN" dirty="0"/>
            <a:t>F</a:t>
          </a:r>
          <a:r>
            <a:rPr lang="en-US" altLang="en-US" dirty="0"/>
            <a:t>eature</a:t>
          </a:r>
          <a:endParaRPr lang="zh-CN" altLang="en-US" dirty="0"/>
        </a:p>
      </dgm:t>
    </dgm:pt>
    <dgm:pt modelId="{50B570DA-92A7-5B40-BD7D-44C266E00598}" type="parTrans" cxnId="{3EE3AA8F-4223-4F43-A13A-C468DD649403}">
      <dgm:prSet/>
      <dgm:spPr/>
      <dgm:t>
        <a:bodyPr/>
        <a:lstStyle/>
        <a:p>
          <a:endParaRPr lang="zh-CN" altLang="en-US"/>
        </a:p>
      </dgm:t>
    </dgm:pt>
    <dgm:pt modelId="{A6274777-254A-2442-BCDF-291B53C1508F}" type="sibTrans" cxnId="{3EE3AA8F-4223-4F43-A13A-C468DD649403}">
      <dgm:prSet/>
      <dgm:spPr/>
      <dgm:t>
        <a:bodyPr/>
        <a:lstStyle/>
        <a:p>
          <a:endParaRPr lang="zh-CN" altLang="en-US"/>
        </a:p>
      </dgm:t>
    </dgm:pt>
    <dgm:pt modelId="{C101DB18-83C1-054E-B16B-E8CD819C1293}">
      <dgm:prSet phldrT="[文本]"/>
      <dgm:spPr/>
      <dgm:t>
        <a:bodyPr/>
        <a:lstStyle/>
        <a:p>
          <a:r>
            <a:rPr lang="en-US" altLang="en-US" dirty="0"/>
            <a:t>Tech Task</a:t>
          </a:r>
          <a:endParaRPr lang="zh-CN" altLang="en-US" dirty="0"/>
        </a:p>
      </dgm:t>
    </dgm:pt>
    <dgm:pt modelId="{2899965F-F416-614B-A2C8-55BE71E5AB68}" type="parTrans" cxnId="{456A2AE6-3369-8A41-85DC-76B56EAE0E96}">
      <dgm:prSet/>
      <dgm:spPr/>
      <dgm:t>
        <a:bodyPr/>
        <a:lstStyle/>
        <a:p>
          <a:endParaRPr lang="zh-CN" altLang="en-US"/>
        </a:p>
      </dgm:t>
    </dgm:pt>
    <dgm:pt modelId="{0E9184F3-8079-3941-84A1-8D1EB180F1D7}" type="sibTrans" cxnId="{456A2AE6-3369-8A41-85DC-76B56EAE0E96}">
      <dgm:prSet/>
      <dgm:spPr/>
      <dgm:t>
        <a:bodyPr/>
        <a:lstStyle/>
        <a:p>
          <a:endParaRPr lang="zh-CN" altLang="en-US"/>
        </a:p>
      </dgm:t>
    </dgm:pt>
    <dgm:pt modelId="{DAF7AE2E-29FC-944B-8EB2-432AF37B1E04}">
      <dgm:prSet phldrT="[文本]"/>
      <dgm:spPr/>
      <dgm:t>
        <a:bodyPr/>
        <a:lstStyle/>
        <a:p>
          <a:r>
            <a:rPr lang="en-US" altLang="en-US" dirty="0"/>
            <a:t>Task</a:t>
          </a:r>
          <a:endParaRPr lang="zh-CN" altLang="en-US" dirty="0"/>
        </a:p>
      </dgm:t>
    </dgm:pt>
    <dgm:pt modelId="{CAF8F5EB-CC8E-2348-BB61-750D66276C2B}" type="parTrans" cxnId="{C1BA204E-B687-D841-8906-2E71ACB24C48}">
      <dgm:prSet/>
      <dgm:spPr/>
      <dgm:t>
        <a:bodyPr/>
        <a:lstStyle/>
        <a:p>
          <a:endParaRPr lang="zh-CN" altLang="en-US"/>
        </a:p>
      </dgm:t>
    </dgm:pt>
    <dgm:pt modelId="{BC28A0BE-E967-0E4E-BBE4-15BCF72F009E}" type="sibTrans" cxnId="{C1BA204E-B687-D841-8906-2E71ACB24C48}">
      <dgm:prSet/>
      <dgm:spPr/>
      <dgm:t>
        <a:bodyPr/>
        <a:lstStyle/>
        <a:p>
          <a:endParaRPr lang="zh-CN" altLang="en-US"/>
        </a:p>
      </dgm:t>
    </dgm:pt>
    <dgm:pt modelId="{175089D4-034E-7A46-9C37-5CB328C781AE}">
      <dgm:prSet phldrT="[文本]"/>
      <dgm:spPr/>
      <dgm:t>
        <a:bodyPr/>
        <a:lstStyle/>
        <a:p>
          <a:r>
            <a:rPr lang="en-US" altLang="en-US"/>
            <a:t>Task</a:t>
          </a:r>
          <a:endParaRPr lang="zh-CN" altLang="en-US" dirty="0"/>
        </a:p>
      </dgm:t>
    </dgm:pt>
    <dgm:pt modelId="{E1277071-7B5E-E449-AA21-84B9CCBDADBE}" type="parTrans" cxnId="{CE6A2699-05AA-4848-AECA-089DE2F34059}">
      <dgm:prSet/>
      <dgm:spPr/>
      <dgm:t>
        <a:bodyPr/>
        <a:lstStyle/>
        <a:p>
          <a:endParaRPr lang="zh-CN" altLang="en-US"/>
        </a:p>
      </dgm:t>
    </dgm:pt>
    <dgm:pt modelId="{7A794400-FD70-F24F-8FFC-57C7624FB5DC}" type="sibTrans" cxnId="{CE6A2699-05AA-4848-AECA-089DE2F34059}">
      <dgm:prSet/>
      <dgm:spPr/>
      <dgm:t>
        <a:bodyPr/>
        <a:lstStyle/>
        <a:p>
          <a:endParaRPr lang="zh-CN" altLang="en-US"/>
        </a:p>
      </dgm:t>
    </dgm:pt>
    <dgm:pt modelId="{54C215A0-22F5-EB41-AB61-859F62440350}">
      <dgm:prSet phldrT="[文本]"/>
      <dgm:spPr/>
      <dgm:t>
        <a:bodyPr/>
        <a:lstStyle/>
        <a:p>
          <a:r>
            <a:rPr lang="en-US" altLang="en-US" dirty="0"/>
            <a:t>Tech Task</a:t>
          </a:r>
          <a:endParaRPr lang="zh-CN" altLang="en-US" dirty="0"/>
        </a:p>
      </dgm:t>
    </dgm:pt>
    <dgm:pt modelId="{DC72BD3E-0158-FB4E-B712-B46F740AFB52}" type="parTrans" cxnId="{3CAA9C48-AC84-6F48-938A-D1ACEC05F166}">
      <dgm:prSet/>
      <dgm:spPr/>
      <dgm:t>
        <a:bodyPr/>
        <a:lstStyle/>
        <a:p>
          <a:endParaRPr lang="zh-CN" altLang="en-US"/>
        </a:p>
      </dgm:t>
    </dgm:pt>
    <dgm:pt modelId="{E8F92C9D-F0B5-6942-B057-3CA9371764F5}" type="sibTrans" cxnId="{3CAA9C48-AC84-6F48-938A-D1ACEC05F166}">
      <dgm:prSet/>
      <dgm:spPr/>
      <dgm:t>
        <a:bodyPr/>
        <a:lstStyle/>
        <a:p>
          <a:endParaRPr lang="zh-CN" altLang="en-US"/>
        </a:p>
      </dgm:t>
    </dgm:pt>
    <dgm:pt modelId="{16F48F30-D040-C44B-968A-40B43FD5F852}">
      <dgm:prSet phldrT="[文本]"/>
      <dgm:spPr/>
      <dgm:t>
        <a:bodyPr/>
        <a:lstStyle/>
        <a:p>
          <a:r>
            <a:rPr lang="en-US" altLang="en-US" dirty="0"/>
            <a:t>Bug</a:t>
          </a:r>
          <a:endParaRPr lang="zh-CN" altLang="en-US" dirty="0"/>
        </a:p>
      </dgm:t>
    </dgm:pt>
    <dgm:pt modelId="{4F913867-4743-584C-9394-3DC729E751BD}" type="parTrans" cxnId="{EC2E683B-1615-8B4B-9C04-7A3630E9A97C}">
      <dgm:prSet/>
      <dgm:spPr/>
      <dgm:t>
        <a:bodyPr/>
        <a:lstStyle/>
        <a:p>
          <a:endParaRPr lang="zh-CN" altLang="en-US"/>
        </a:p>
      </dgm:t>
    </dgm:pt>
    <dgm:pt modelId="{2CA9B144-F793-684E-9421-A64D24B3DEA6}" type="sibTrans" cxnId="{EC2E683B-1615-8B4B-9C04-7A3630E9A97C}">
      <dgm:prSet/>
      <dgm:spPr/>
      <dgm:t>
        <a:bodyPr/>
        <a:lstStyle/>
        <a:p>
          <a:endParaRPr lang="zh-CN" altLang="en-US"/>
        </a:p>
      </dgm:t>
    </dgm:pt>
    <dgm:pt modelId="{E669F2A4-D0CB-DD45-B585-43E2B2373F38}">
      <dgm:prSet phldrT="[文本]"/>
      <dgm:spPr/>
      <dgm:t>
        <a:bodyPr/>
        <a:lstStyle/>
        <a:p>
          <a:r>
            <a:rPr lang="en-US" altLang="en-US" dirty="0"/>
            <a:t>Bug(线上)</a:t>
          </a:r>
          <a:endParaRPr lang="zh-CN" altLang="en-US" dirty="0"/>
        </a:p>
      </dgm:t>
    </dgm:pt>
    <dgm:pt modelId="{D94106E3-2F63-914E-936B-20E3FF04FA33}" type="parTrans" cxnId="{AACDF9B9-874A-EC41-85F8-CD01F221F7A5}">
      <dgm:prSet/>
      <dgm:spPr/>
      <dgm:t>
        <a:bodyPr/>
        <a:lstStyle/>
        <a:p>
          <a:endParaRPr lang="zh-CN" altLang="en-US"/>
        </a:p>
      </dgm:t>
    </dgm:pt>
    <dgm:pt modelId="{98716748-EB65-3E41-9E36-421AF6DC5E16}" type="sibTrans" cxnId="{AACDF9B9-874A-EC41-85F8-CD01F221F7A5}">
      <dgm:prSet/>
      <dgm:spPr/>
      <dgm:t>
        <a:bodyPr/>
        <a:lstStyle/>
        <a:p>
          <a:endParaRPr lang="zh-CN" altLang="en-US"/>
        </a:p>
      </dgm:t>
    </dgm:pt>
    <dgm:pt modelId="{70C27559-A975-144F-B3EF-574975F91125}">
      <dgm:prSet phldrT="[文本]"/>
      <dgm:spPr/>
      <dgm:t>
        <a:bodyPr/>
        <a:lstStyle/>
        <a:p>
          <a:r>
            <a:rPr lang="en-US" altLang="en-US" dirty="0"/>
            <a:t>非研发任务</a:t>
          </a:r>
          <a:endParaRPr lang="zh-CN" altLang="en-US" dirty="0"/>
        </a:p>
      </dgm:t>
    </dgm:pt>
    <dgm:pt modelId="{E4783796-B324-BF46-828C-7DD596D0BA6D}" type="parTrans" cxnId="{3169C5BA-30C2-DE49-8E45-6AA0ADB78E9F}">
      <dgm:prSet/>
      <dgm:spPr/>
      <dgm:t>
        <a:bodyPr/>
        <a:lstStyle/>
        <a:p>
          <a:endParaRPr lang="zh-CN" altLang="en-US"/>
        </a:p>
      </dgm:t>
    </dgm:pt>
    <dgm:pt modelId="{965B3C6D-07C1-944D-92C8-C876DC5F73DC}" type="sibTrans" cxnId="{3169C5BA-30C2-DE49-8E45-6AA0ADB78E9F}">
      <dgm:prSet/>
      <dgm:spPr/>
      <dgm:t>
        <a:bodyPr/>
        <a:lstStyle/>
        <a:p>
          <a:endParaRPr lang="zh-CN" altLang="en-US"/>
        </a:p>
      </dgm:t>
    </dgm:pt>
    <dgm:pt modelId="{8EEFEA66-D479-DF4A-BEA2-B188D24BC8BC}">
      <dgm:prSet phldrT="[文本]"/>
      <dgm:spPr/>
      <dgm:t>
        <a:bodyPr/>
        <a:lstStyle/>
        <a:p>
          <a:r>
            <a:rPr lang="en-US" altLang="en-US" dirty="0"/>
            <a:t>非研发任务</a:t>
          </a:r>
          <a:endParaRPr lang="zh-CN" altLang="en-US" dirty="0"/>
        </a:p>
      </dgm:t>
    </dgm:pt>
    <dgm:pt modelId="{A9710368-7A11-ED41-809E-C9E499E16E55}" type="parTrans" cxnId="{C30DBBD9-7C3E-A349-BF82-C61E76CAB035}">
      <dgm:prSet/>
      <dgm:spPr/>
      <dgm:t>
        <a:bodyPr/>
        <a:lstStyle/>
        <a:p>
          <a:endParaRPr lang="zh-CN" altLang="en-US"/>
        </a:p>
      </dgm:t>
    </dgm:pt>
    <dgm:pt modelId="{25655675-8750-2646-BDF4-21A7ACCE06B9}" type="sibTrans" cxnId="{C30DBBD9-7C3E-A349-BF82-C61E76CAB035}">
      <dgm:prSet/>
      <dgm:spPr/>
      <dgm:t>
        <a:bodyPr/>
        <a:lstStyle/>
        <a:p>
          <a:endParaRPr lang="zh-CN" altLang="en-US"/>
        </a:p>
      </dgm:t>
    </dgm:pt>
    <dgm:pt modelId="{E2A4F380-81FF-AC48-A4F0-BF45DE3B8DC9}" type="pres">
      <dgm:prSet presAssocID="{F1619D1F-084F-0C4B-8873-4F91AFECCE2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F9513E9-F6F1-174B-9C92-5F4E6F41A096}" type="pres">
      <dgm:prSet presAssocID="{90CBA2C9-01D1-9D4B-B8DC-488824CE961D}" presName="root1" presStyleCnt="0"/>
      <dgm:spPr/>
    </dgm:pt>
    <dgm:pt modelId="{6C5FFA5A-70BF-4942-BDDB-EE01271FAE70}" type="pres">
      <dgm:prSet presAssocID="{90CBA2C9-01D1-9D4B-B8DC-488824CE961D}" presName="LevelOneTextNode" presStyleLbl="node0" presStyleIdx="0" presStyleCnt="4">
        <dgm:presLayoutVars>
          <dgm:chPref val="3"/>
        </dgm:presLayoutVars>
      </dgm:prSet>
      <dgm:spPr/>
    </dgm:pt>
    <dgm:pt modelId="{813E32EF-E1DB-D148-AFB6-3F6EDAE3E550}" type="pres">
      <dgm:prSet presAssocID="{90CBA2C9-01D1-9D4B-B8DC-488824CE961D}" presName="level2hierChild" presStyleCnt="0"/>
      <dgm:spPr/>
    </dgm:pt>
    <dgm:pt modelId="{7C0819C2-8256-F442-B22A-FC5EC0372F14}" type="pres">
      <dgm:prSet presAssocID="{48B5BC82-57A3-AD40-845A-25149343745F}" presName="conn2-1" presStyleLbl="parChTrans1D2" presStyleIdx="0" presStyleCnt="3"/>
      <dgm:spPr/>
    </dgm:pt>
    <dgm:pt modelId="{A169CF7E-C67D-994D-B92C-7C596655860B}" type="pres">
      <dgm:prSet presAssocID="{48B5BC82-57A3-AD40-845A-25149343745F}" presName="connTx" presStyleLbl="parChTrans1D2" presStyleIdx="0" presStyleCnt="3"/>
      <dgm:spPr/>
    </dgm:pt>
    <dgm:pt modelId="{121BD799-926D-8C43-B249-7924787DA01A}" type="pres">
      <dgm:prSet presAssocID="{797AFE9C-998E-D84D-BD84-E9BBF63D4DF7}" presName="root2" presStyleCnt="0"/>
      <dgm:spPr/>
    </dgm:pt>
    <dgm:pt modelId="{71374535-BFEF-474F-A4DD-23B92F76F411}" type="pres">
      <dgm:prSet presAssocID="{797AFE9C-998E-D84D-BD84-E9BBF63D4DF7}" presName="LevelTwoTextNode" presStyleLbl="node2" presStyleIdx="0" presStyleCnt="3" custScaleX="127842">
        <dgm:presLayoutVars>
          <dgm:chPref val="3"/>
        </dgm:presLayoutVars>
      </dgm:prSet>
      <dgm:spPr/>
    </dgm:pt>
    <dgm:pt modelId="{F1BA49CD-5132-7345-9978-2D434CBA6DDA}" type="pres">
      <dgm:prSet presAssocID="{797AFE9C-998E-D84D-BD84-E9BBF63D4DF7}" presName="level3hierChild" presStyleCnt="0"/>
      <dgm:spPr/>
    </dgm:pt>
    <dgm:pt modelId="{F2AB43C2-71CD-9B48-B1F5-06D9982A1E0A}" type="pres">
      <dgm:prSet presAssocID="{7774DC50-D877-5D43-BBE9-6A13BE782440}" presName="conn2-1" presStyleLbl="parChTrans1D3" presStyleIdx="0" presStyleCnt="4"/>
      <dgm:spPr/>
    </dgm:pt>
    <dgm:pt modelId="{F10AC0AC-2779-924C-9053-0771213E77B4}" type="pres">
      <dgm:prSet presAssocID="{7774DC50-D877-5D43-BBE9-6A13BE782440}" presName="connTx" presStyleLbl="parChTrans1D3" presStyleIdx="0" presStyleCnt="4"/>
      <dgm:spPr/>
    </dgm:pt>
    <dgm:pt modelId="{4696F891-4CC7-F548-964B-0B86FFBBC00C}" type="pres">
      <dgm:prSet presAssocID="{DC2C7614-79C1-3748-B6E5-808A70471F99}" presName="root2" presStyleCnt="0"/>
      <dgm:spPr/>
    </dgm:pt>
    <dgm:pt modelId="{C1373B57-5A7D-2843-93B8-F371E11895EF}" type="pres">
      <dgm:prSet presAssocID="{DC2C7614-79C1-3748-B6E5-808A70471F99}" presName="LevelTwoTextNode" presStyleLbl="node3" presStyleIdx="0" presStyleCnt="4">
        <dgm:presLayoutVars>
          <dgm:chPref val="3"/>
        </dgm:presLayoutVars>
      </dgm:prSet>
      <dgm:spPr/>
    </dgm:pt>
    <dgm:pt modelId="{6361E079-9516-8249-98B5-2C61B5D154F0}" type="pres">
      <dgm:prSet presAssocID="{DC2C7614-79C1-3748-B6E5-808A70471F99}" presName="level3hierChild" presStyleCnt="0"/>
      <dgm:spPr/>
    </dgm:pt>
    <dgm:pt modelId="{3CBCF565-0D18-AD42-82EA-B3A960420BC5}" type="pres">
      <dgm:prSet presAssocID="{CAF8F5EB-CC8E-2348-BB61-750D66276C2B}" presName="conn2-1" presStyleLbl="parChTrans1D4" presStyleIdx="0" presStyleCnt="2"/>
      <dgm:spPr/>
    </dgm:pt>
    <dgm:pt modelId="{88984FEF-E685-6E46-8598-BEEAC3EC3704}" type="pres">
      <dgm:prSet presAssocID="{CAF8F5EB-CC8E-2348-BB61-750D66276C2B}" presName="connTx" presStyleLbl="parChTrans1D4" presStyleIdx="0" presStyleCnt="2"/>
      <dgm:spPr/>
    </dgm:pt>
    <dgm:pt modelId="{C2405D86-E154-EB4E-9D3C-3005F448CB3B}" type="pres">
      <dgm:prSet presAssocID="{DAF7AE2E-29FC-944B-8EB2-432AF37B1E04}" presName="root2" presStyleCnt="0"/>
      <dgm:spPr/>
    </dgm:pt>
    <dgm:pt modelId="{26FC079C-B752-5F41-A856-0CDFF93985DA}" type="pres">
      <dgm:prSet presAssocID="{DAF7AE2E-29FC-944B-8EB2-432AF37B1E04}" presName="LevelTwoTextNode" presStyleLbl="node4" presStyleIdx="0" presStyleCnt="2">
        <dgm:presLayoutVars>
          <dgm:chPref val="3"/>
        </dgm:presLayoutVars>
      </dgm:prSet>
      <dgm:spPr/>
    </dgm:pt>
    <dgm:pt modelId="{BDAD8AC1-DF5B-7C4B-BA57-E2EBA3C47A9C}" type="pres">
      <dgm:prSet presAssocID="{DAF7AE2E-29FC-944B-8EB2-432AF37B1E04}" presName="level3hierChild" presStyleCnt="0"/>
      <dgm:spPr/>
    </dgm:pt>
    <dgm:pt modelId="{45D9446E-47AB-164D-B4CE-DDD3D5628B69}" type="pres">
      <dgm:prSet presAssocID="{E1277071-7B5E-E449-AA21-84B9CCBDADBE}" presName="conn2-1" presStyleLbl="parChTrans1D4" presStyleIdx="1" presStyleCnt="2"/>
      <dgm:spPr/>
    </dgm:pt>
    <dgm:pt modelId="{EAAA7648-EF3E-2548-8F02-D489DFAF208A}" type="pres">
      <dgm:prSet presAssocID="{E1277071-7B5E-E449-AA21-84B9CCBDADBE}" presName="connTx" presStyleLbl="parChTrans1D4" presStyleIdx="1" presStyleCnt="2"/>
      <dgm:spPr/>
    </dgm:pt>
    <dgm:pt modelId="{CA4F9C52-21E4-0A4C-BD3A-068494D8DA4C}" type="pres">
      <dgm:prSet presAssocID="{175089D4-034E-7A46-9C37-5CB328C781AE}" presName="root2" presStyleCnt="0"/>
      <dgm:spPr/>
    </dgm:pt>
    <dgm:pt modelId="{2231B17C-F3BC-A748-A254-A4ED44901516}" type="pres">
      <dgm:prSet presAssocID="{175089D4-034E-7A46-9C37-5CB328C781AE}" presName="LevelTwoTextNode" presStyleLbl="node4" presStyleIdx="1" presStyleCnt="2">
        <dgm:presLayoutVars>
          <dgm:chPref val="3"/>
        </dgm:presLayoutVars>
      </dgm:prSet>
      <dgm:spPr/>
    </dgm:pt>
    <dgm:pt modelId="{BD2917EE-A414-D842-B6B5-AF1CAC2C66E4}" type="pres">
      <dgm:prSet presAssocID="{175089D4-034E-7A46-9C37-5CB328C781AE}" presName="level3hierChild" presStyleCnt="0"/>
      <dgm:spPr/>
    </dgm:pt>
    <dgm:pt modelId="{5DDF439B-EDB3-FC45-A5D8-D245E3308255}" type="pres">
      <dgm:prSet presAssocID="{9B671BF0-FD21-8E4D-B7EA-95A0CD75E901}" presName="conn2-1" presStyleLbl="parChTrans1D3" presStyleIdx="1" presStyleCnt="4"/>
      <dgm:spPr/>
    </dgm:pt>
    <dgm:pt modelId="{7B595B26-D299-274F-BBCF-0E42F0263985}" type="pres">
      <dgm:prSet presAssocID="{9B671BF0-FD21-8E4D-B7EA-95A0CD75E901}" presName="connTx" presStyleLbl="parChTrans1D3" presStyleIdx="1" presStyleCnt="4"/>
      <dgm:spPr/>
    </dgm:pt>
    <dgm:pt modelId="{5D67F62B-70B1-604B-B982-4B95A3845987}" type="pres">
      <dgm:prSet presAssocID="{BCD55776-20B7-7C4C-9260-54F95F0F7ED9}" presName="root2" presStyleCnt="0"/>
      <dgm:spPr/>
    </dgm:pt>
    <dgm:pt modelId="{57D56CF0-C13D-824D-BDFF-7C28028B8B73}" type="pres">
      <dgm:prSet presAssocID="{BCD55776-20B7-7C4C-9260-54F95F0F7ED9}" presName="LevelTwoTextNode" presStyleLbl="node3" presStyleIdx="1" presStyleCnt="4">
        <dgm:presLayoutVars>
          <dgm:chPref val="3"/>
        </dgm:presLayoutVars>
      </dgm:prSet>
      <dgm:spPr/>
    </dgm:pt>
    <dgm:pt modelId="{D3B3E26A-4EE6-074C-9D13-6865F11CF68A}" type="pres">
      <dgm:prSet presAssocID="{BCD55776-20B7-7C4C-9260-54F95F0F7ED9}" presName="level3hierChild" presStyleCnt="0"/>
      <dgm:spPr/>
    </dgm:pt>
    <dgm:pt modelId="{28089231-4519-0843-9903-B6F029E7E658}" type="pres">
      <dgm:prSet presAssocID="{50B570DA-92A7-5B40-BD7D-44C266E00598}" presName="conn2-1" presStyleLbl="parChTrans1D2" presStyleIdx="1" presStyleCnt="3"/>
      <dgm:spPr/>
    </dgm:pt>
    <dgm:pt modelId="{438C621B-9117-F54A-80E2-699BC8CD02C5}" type="pres">
      <dgm:prSet presAssocID="{50B570DA-92A7-5B40-BD7D-44C266E00598}" presName="connTx" presStyleLbl="parChTrans1D2" presStyleIdx="1" presStyleCnt="3"/>
      <dgm:spPr/>
    </dgm:pt>
    <dgm:pt modelId="{9A846637-A798-FC40-BBA3-1539A2CF50A1}" type="pres">
      <dgm:prSet presAssocID="{02B10FBF-6C9E-6B4D-9537-7E058700B0DF}" presName="root2" presStyleCnt="0"/>
      <dgm:spPr/>
    </dgm:pt>
    <dgm:pt modelId="{DBE49202-7EC6-F74D-B2D8-7F411EBF2800}" type="pres">
      <dgm:prSet presAssocID="{02B10FBF-6C9E-6B4D-9537-7E058700B0DF}" presName="LevelTwoTextNode" presStyleLbl="node2" presStyleIdx="1" presStyleCnt="3" custScaleX="126545">
        <dgm:presLayoutVars>
          <dgm:chPref val="3"/>
        </dgm:presLayoutVars>
      </dgm:prSet>
      <dgm:spPr/>
    </dgm:pt>
    <dgm:pt modelId="{93BFEC82-AABD-1247-B559-6F0FCE90C196}" type="pres">
      <dgm:prSet presAssocID="{02B10FBF-6C9E-6B4D-9537-7E058700B0DF}" presName="level3hierChild" presStyleCnt="0"/>
      <dgm:spPr/>
    </dgm:pt>
    <dgm:pt modelId="{232B6F91-FD38-5640-A143-EA3B1A0EBBB7}" type="pres">
      <dgm:prSet presAssocID="{DC72BD3E-0158-FB4E-B712-B46F740AFB52}" presName="conn2-1" presStyleLbl="parChTrans1D3" presStyleIdx="2" presStyleCnt="4"/>
      <dgm:spPr/>
    </dgm:pt>
    <dgm:pt modelId="{FE93ED34-E6EA-9B41-B588-447FCC68471E}" type="pres">
      <dgm:prSet presAssocID="{DC72BD3E-0158-FB4E-B712-B46F740AFB52}" presName="connTx" presStyleLbl="parChTrans1D3" presStyleIdx="2" presStyleCnt="4"/>
      <dgm:spPr/>
    </dgm:pt>
    <dgm:pt modelId="{8C6E53EC-C5F2-D24A-B8DA-D801E8CCFDD8}" type="pres">
      <dgm:prSet presAssocID="{54C215A0-22F5-EB41-AB61-859F62440350}" presName="root2" presStyleCnt="0"/>
      <dgm:spPr/>
    </dgm:pt>
    <dgm:pt modelId="{0263A7EF-291D-2F46-9F58-FAFB68A9330C}" type="pres">
      <dgm:prSet presAssocID="{54C215A0-22F5-EB41-AB61-859F62440350}" presName="LevelTwoTextNode" presStyleLbl="node3" presStyleIdx="2" presStyleCnt="4">
        <dgm:presLayoutVars>
          <dgm:chPref val="3"/>
        </dgm:presLayoutVars>
      </dgm:prSet>
      <dgm:spPr/>
    </dgm:pt>
    <dgm:pt modelId="{31F0A348-862E-3F4D-9AA0-4E325596F595}" type="pres">
      <dgm:prSet presAssocID="{54C215A0-22F5-EB41-AB61-859F62440350}" presName="level3hierChild" presStyleCnt="0"/>
      <dgm:spPr/>
    </dgm:pt>
    <dgm:pt modelId="{68C7A2CD-96E1-6F43-9D02-896C0B4D13A2}" type="pres">
      <dgm:prSet presAssocID="{2899965F-F416-614B-A2C8-55BE71E5AB68}" presName="conn2-1" presStyleLbl="parChTrans1D3" presStyleIdx="3" presStyleCnt="4"/>
      <dgm:spPr/>
    </dgm:pt>
    <dgm:pt modelId="{B130A067-356E-7B48-9286-BAE44A4562EC}" type="pres">
      <dgm:prSet presAssocID="{2899965F-F416-614B-A2C8-55BE71E5AB68}" presName="connTx" presStyleLbl="parChTrans1D3" presStyleIdx="3" presStyleCnt="4"/>
      <dgm:spPr/>
    </dgm:pt>
    <dgm:pt modelId="{E616C5A3-03F6-4546-8CE5-8D69E799E1E6}" type="pres">
      <dgm:prSet presAssocID="{C101DB18-83C1-054E-B16B-E8CD819C1293}" presName="root2" presStyleCnt="0"/>
      <dgm:spPr/>
    </dgm:pt>
    <dgm:pt modelId="{A0C91F8B-8675-4948-8BC8-F0524AB7665E}" type="pres">
      <dgm:prSet presAssocID="{C101DB18-83C1-054E-B16B-E8CD819C1293}" presName="LevelTwoTextNode" presStyleLbl="node3" presStyleIdx="3" presStyleCnt="4">
        <dgm:presLayoutVars>
          <dgm:chPref val="3"/>
        </dgm:presLayoutVars>
      </dgm:prSet>
      <dgm:spPr/>
    </dgm:pt>
    <dgm:pt modelId="{DC5ABA78-AADB-A64C-A6BA-888D52FBEE31}" type="pres">
      <dgm:prSet presAssocID="{C101DB18-83C1-054E-B16B-E8CD819C1293}" presName="level3hierChild" presStyleCnt="0"/>
      <dgm:spPr/>
    </dgm:pt>
    <dgm:pt modelId="{10DEA272-A28E-2345-A69F-87E9F6202188}" type="pres">
      <dgm:prSet presAssocID="{16F48F30-D040-C44B-968A-40B43FD5F852}" presName="root1" presStyleCnt="0"/>
      <dgm:spPr/>
    </dgm:pt>
    <dgm:pt modelId="{ADD3AD45-DE0D-664B-B945-83E453C517E6}" type="pres">
      <dgm:prSet presAssocID="{16F48F30-D040-C44B-968A-40B43FD5F852}" presName="LevelOneTextNode" presStyleLbl="node0" presStyleIdx="1" presStyleCnt="4">
        <dgm:presLayoutVars>
          <dgm:chPref val="3"/>
        </dgm:presLayoutVars>
      </dgm:prSet>
      <dgm:spPr/>
    </dgm:pt>
    <dgm:pt modelId="{A2D08E7C-500A-1F47-BDC6-E4F1A491604B}" type="pres">
      <dgm:prSet presAssocID="{16F48F30-D040-C44B-968A-40B43FD5F852}" presName="level2hierChild" presStyleCnt="0"/>
      <dgm:spPr/>
    </dgm:pt>
    <dgm:pt modelId="{23AF89F8-D3BD-DF40-B0FD-17085D9748E5}" type="pres">
      <dgm:prSet presAssocID="{E669F2A4-D0CB-DD45-B585-43E2B2373F38}" presName="root1" presStyleCnt="0"/>
      <dgm:spPr/>
    </dgm:pt>
    <dgm:pt modelId="{578FAC8E-E6D7-F649-BCD8-C6A8DBD3990F}" type="pres">
      <dgm:prSet presAssocID="{E669F2A4-D0CB-DD45-B585-43E2B2373F38}" presName="LevelOneTextNode" presStyleLbl="node0" presStyleIdx="2" presStyleCnt="4">
        <dgm:presLayoutVars>
          <dgm:chPref val="3"/>
        </dgm:presLayoutVars>
      </dgm:prSet>
      <dgm:spPr/>
    </dgm:pt>
    <dgm:pt modelId="{8037A18D-7128-E14F-835F-861E72212779}" type="pres">
      <dgm:prSet presAssocID="{E669F2A4-D0CB-DD45-B585-43E2B2373F38}" presName="level2hierChild" presStyleCnt="0"/>
      <dgm:spPr/>
    </dgm:pt>
    <dgm:pt modelId="{A9694F84-D947-B14B-BAD3-39988AB16552}" type="pres">
      <dgm:prSet presAssocID="{70C27559-A975-144F-B3EF-574975F91125}" presName="root1" presStyleCnt="0"/>
      <dgm:spPr/>
    </dgm:pt>
    <dgm:pt modelId="{85B18AF4-0054-D249-8187-5F16A5F10959}" type="pres">
      <dgm:prSet presAssocID="{70C27559-A975-144F-B3EF-574975F91125}" presName="LevelOneTextNode" presStyleLbl="node0" presStyleIdx="3" presStyleCnt="4">
        <dgm:presLayoutVars>
          <dgm:chPref val="3"/>
        </dgm:presLayoutVars>
      </dgm:prSet>
      <dgm:spPr/>
    </dgm:pt>
    <dgm:pt modelId="{67F79787-CD72-BC45-8C89-A69F4266BF5B}" type="pres">
      <dgm:prSet presAssocID="{70C27559-A975-144F-B3EF-574975F91125}" presName="level2hierChild" presStyleCnt="0"/>
      <dgm:spPr/>
    </dgm:pt>
    <dgm:pt modelId="{E1038C34-8992-D74A-8274-1845044D8367}" type="pres">
      <dgm:prSet presAssocID="{A9710368-7A11-ED41-809E-C9E499E16E55}" presName="conn2-1" presStyleLbl="parChTrans1D2" presStyleIdx="2" presStyleCnt="3"/>
      <dgm:spPr/>
    </dgm:pt>
    <dgm:pt modelId="{54270BAD-FAD1-5341-BD33-68861E2DC512}" type="pres">
      <dgm:prSet presAssocID="{A9710368-7A11-ED41-809E-C9E499E16E55}" presName="connTx" presStyleLbl="parChTrans1D2" presStyleIdx="2" presStyleCnt="3"/>
      <dgm:spPr/>
    </dgm:pt>
    <dgm:pt modelId="{232CAF22-4EC6-4D46-8BFC-5CA48F165707}" type="pres">
      <dgm:prSet presAssocID="{8EEFEA66-D479-DF4A-BEA2-B188D24BC8BC}" presName="root2" presStyleCnt="0"/>
      <dgm:spPr/>
    </dgm:pt>
    <dgm:pt modelId="{9E1DE5F7-72F3-0946-B0C4-366531C5EE55}" type="pres">
      <dgm:prSet presAssocID="{8EEFEA66-D479-DF4A-BEA2-B188D24BC8BC}" presName="LevelTwoTextNode" presStyleLbl="node2" presStyleIdx="2" presStyleCnt="3">
        <dgm:presLayoutVars>
          <dgm:chPref val="3"/>
        </dgm:presLayoutVars>
      </dgm:prSet>
      <dgm:spPr/>
    </dgm:pt>
    <dgm:pt modelId="{1B7CAE87-5ED6-7D4B-A2B1-912458E9F94C}" type="pres">
      <dgm:prSet presAssocID="{8EEFEA66-D479-DF4A-BEA2-B188D24BC8BC}" presName="level3hierChild" presStyleCnt="0"/>
      <dgm:spPr/>
    </dgm:pt>
  </dgm:ptLst>
  <dgm:cxnLst>
    <dgm:cxn modelId="{8B364C06-19F7-E04B-B978-D60288B89C4B}" type="presOf" srcId="{797AFE9C-998E-D84D-BD84-E9BBF63D4DF7}" destId="{71374535-BFEF-474F-A4DD-23B92F76F411}" srcOrd="0" destOrd="0" presId="urn:microsoft.com/office/officeart/2005/8/layout/hierarchy2#6"/>
    <dgm:cxn modelId="{2A4DCF06-C312-434B-9CD9-CA593593BDEC}" type="presOf" srcId="{9B671BF0-FD21-8E4D-B7EA-95A0CD75E901}" destId="{5DDF439B-EDB3-FC45-A5D8-D245E3308255}" srcOrd="0" destOrd="0" presId="urn:microsoft.com/office/officeart/2005/8/layout/hierarchy2#6"/>
    <dgm:cxn modelId="{03185A0F-B5DC-2344-A13F-5AB8951FDCDE}" type="presOf" srcId="{48B5BC82-57A3-AD40-845A-25149343745F}" destId="{A169CF7E-C67D-994D-B92C-7C596655860B}" srcOrd="1" destOrd="0" presId="urn:microsoft.com/office/officeart/2005/8/layout/hierarchy2#6"/>
    <dgm:cxn modelId="{81D90E17-6450-5E47-8B87-5905FB5DC5DF}" type="presOf" srcId="{DC72BD3E-0158-FB4E-B712-B46F740AFB52}" destId="{FE93ED34-E6EA-9B41-B588-447FCC68471E}" srcOrd="1" destOrd="0" presId="urn:microsoft.com/office/officeart/2005/8/layout/hierarchy2#6"/>
    <dgm:cxn modelId="{6D6F9719-9183-1B40-B65D-E495F777C7F8}" type="presOf" srcId="{7774DC50-D877-5D43-BBE9-6A13BE782440}" destId="{F2AB43C2-71CD-9B48-B1F5-06D9982A1E0A}" srcOrd="0" destOrd="0" presId="urn:microsoft.com/office/officeart/2005/8/layout/hierarchy2#6"/>
    <dgm:cxn modelId="{20C14E26-FE5D-E941-9D48-2A12F51115CD}" type="presOf" srcId="{7774DC50-D877-5D43-BBE9-6A13BE782440}" destId="{F10AC0AC-2779-924C-9053-0771213E77B4}" srcOrd="1" destOrd="0" presId="urn:microsoft.com/office/officeart/2005/8/layout/hierarchy2#6"/>
    <dgm:cxn modelId="{82032C28-D7D7-124B-A116-C23B2478120B}" type="presOf" srcId="{E1277071-7B5E-E449-AA21-84B9CCBDADBE}" destId="{45D9446E-47AB-164D-B4CE-DDD3D5628B69}" srcOrd="0" destOrd="0" presId="urn:microsoft.com/office/officeart/2005/8/layout/hierarchy2#6"/>
    <dgm:cxn modelId="{0FBDF42E-B49D-E340-8D2C-92592EC64664}" type="presOf" srcId="{DAF7AE2E-29FC-944B-8EB2-432AF37B1E04}" destId="{26FC079C-B752-5F41-A856-0CDFF93985DA}" srcOrd="0" destOrd="0" presId="urn:microsoft.com/office/officeart/2005/8/layout/hierarchy2#6"/>
    <dgm:cxn modelId="{EC2E683B-1615-8B4B-9C04-7A3630E9A97C}" srcId="{F1619D1F-084F-0C4B-8873-4F91AFECCE2C}" destId="{16F48F30-D040-C44B-968A-40B43FD5F852}" srcOrd="1" destOrd="0" parTransId="{4F913867-4743-584C-9394-3DC729E751BD}" sibTransId="{2CA9B144-F793-684E-9421-A64D24B3DEA6}"/>
    <dgm:cxn modelId="{40960540-DFBD-C64F-AE57-2F82D0FAE197}" type="presOf" srcId="{C101DB18-83C1-054E-B16B-E8CD819C1293}" destId="{A0C91F8B-8675-4948-8BC8-F0524AB7665E}" srcOrd="0" destOrd="0" presId="urn:microsoft.com/office/officeart/2005/8/layout/hierarchy2#6"/>
    <dgm:cxn modelId="{4271A244-DA13-BD46-85BB-66ED2F18D508}" type="presOf" srcId="{70C27559-A975-144F-B3EF-574975F91125}" destId="{85B18AF4-0054-D249-8187-5F16A5F10959}" srcOrd="0" destOrd="0" presId="urn:microsoft.com/office/officeart/2005/8/layout/hierarchy2#6"/>
    <dgm:cxn modelId="{3CAA9C48-AC84-6F48-938A-D1ACEC05F166}" srcId="{02B10FBF-6C9E-6B4D-9537-7E058700B0DF}" destId="{54C215A0-22F5-EB41-AB61-859F62440350}" srcOrd="0" destOrd="0" parTransId="{DC72BD3E-0158-FB4E-B712-B46F740AFB52}" sibTransId="{E8F92C9D-F0B5-6942-B057-3CA9371764F5}"/>
    <dgm:cxn modelId="{6007554B-66A8-1E44-86AD-C2DD05BA24D8}" type="presOf" srcId="{E1277071-7B5E-E449-AA21-84B9CCBDADBE}" destId="{EAAA7648-EF3E-2548-8F02-D489DFAF208A}" srcOrd="1" destOrd="0" presId="urn:microsoft.com/office/officeart/2005/8/layout/hierarchy2#6"/>
    <dgm:cxn modelId="{C1BA204E-B687-D841-8906-2E71ACB24C48}" srcId="{DC2C7614-79C1-3748-B6E5-808A70471F99}" destId="{DAF7AE2E-29FC-944B-8EB2-432AF37B1E04}" srcOrd="0" destOrd="0" parTransId="{CAF8F5EB-CC8E-2348-BB61-750D66276C2B}" sibTransId="{BC28A0BE-E967-0E4E-BBE4-15BCF72F009E}"/>
    <dgm:cxn modelId="{D520684E-5E6E-D045-AB7C-A91DCE070316}" type="presOf" srcId="{DC2C7614-79C1-3748-B6E5-808A70471F99}" destId="{C1373B57-5A7D-2843-93B8-F371E11895EF}" srcOrd="0" destOrd="0" presId="urn:microsoft.com/office/officeart/2005/8/layout/hierarchy2#6"/>
    <dgm:cxn modelId="{2C060055-D2A1-CB40-A2BB-BD20030598D0}" srcId="{797AFE9C-998E-D84D-BD84-E9BBF63D4DF7}" destId="{BCD55776-20B7-7C4C-9260-54F95F0F7ED9}" srcOrd="1" destOrd="0" parTransId="{9B671BF0-FD21-8E4D-B7EA-95A0CD75E901}" sibTransId="{8276430E-CE88-2C46-83FB-A7C179DA49E7}"/>
    <dgm:cxn modelId="{5EF6ED57-2023-FA40-9201-3FB33CFCD0DF}" srcId="{F1619D1F-084F-0C4B-8873-4F91AFECCE2C}" destId="{90CBA2C9-01D1-9D4B-B8DC-488824CE961D}" srcOrd="0" destOrd="0" parTransId="{0C18E361-C823-684F-9091-DA337E85DE2A}" sibTransId="{D2102A65-EF3E-8849-B4F2-826444DDA64D}"/>
    <dgm:cxn modelId="{D9AC9C59-EF0E-B24F-B123-1F5B7622C291}" type="presOf" srcId="{8EEFEA66-D479-DF4A-BEA2-B188D24BC8BC}" destId="{9E1DE5F7-72F3-0946-B0C4-366531C5EE55}" srcOrd="0" destOrd="0" presId="urn:microsoft.com/office/officeart/2005/8/layout/hierarchy2#6"/>
    <dgm:cxn modelId="{466CC35A-EDDD-6446-BCD8-A49A9F27FACC}" srcId="{797AFE9C-998E-D84D-BD84-E9BBF63D4DF7}" destId="{DC2C7614-79C1-3748-B6E5-808A70471F99}" srcOrd="0" destOrd="0" parTransId="{7774DC50-D877-5D43-BBE9-6A13BE782440}" sibTransId="{380EDE04-51B2-DA42-B5D0-6CBAC04C5058}"/>
    <dgm:cxn modelId="{F89C825D-FF87-7248-A171-460113F30DBF}" type="presOf" srcId="{175089D4-034E-7A46-9C37-5CB328C781AE}" destId="{2231B17C-F3BC-A748-A254-A4ED44901516}" srcOrd="0" destOrd="0" presId="urn:microsoft.com/office/officeart/2005/8/layout/hierarchy2#6"/>
    <dgm:cxn modelId="{FAF23672-C1E9-4644-821B-5B9A53791604}" type="presOf" srcId="{9B671BF0-FD21-8E4D-B7EA-95A0CD75E901}" destId="{7B595B26-D299-274F-BBCF-0E42F0263985}" srcOrd="1" destOrd="0" presId="urn:microsoft.com/office/officeart/2005/8/layout/hierarchy2#6"/>
    <dgm:cxn modelId="{4A324684-593D-F148-AE89-73222B5A8FCF}" type="presOf" srcId="{DC72BD3E-0158-FB4E-B712-B46F740AFB52}" destId="{232B6F91-FD38-5640-A143-EA3B1A0EBBB7}" srcOrd="0" destOrd="0" presId="urn:microsoft.com/office/officeart/2005/8/layout/hierarchy2#6"/>
    <dgm:cxn modelId="{49C53D89-50CA-4B40-B894-6F4672D5D711}" type="presOf" srcId="{CAF8F5EB-CC8E-2348-BB61-750D66276C2B}" destId="{88984FEF-E685-6E46-8598-BEEAC3EC3704}" srcOrd="1" destOrd="0" presId="urn:microsoft.com/office/officeart/2005/8/layout/hierarchy2#6"/>
    <dgm:cxn modelId="{3EE3AA8F-4223-4F43-A13A-C468DD649403}" srcId="{90CBA2C9-01D1-9D4B-B8DC-488824CE961D}" destId="{02B10FBF-6C9E-6B4D-9537-7E058700B0DF}" srcOrd="1" destOrd="0" parTransId="{50B570DA-92A7-5B40-BD7D-44C266E00598}" sibTransId="{A6274777-254A-2442-BCDF-291B53C1508F}"/>
    <dgm:cxn modelId="{75C2DC93-6E92-9A48-81ED-685E7D9D4322}" type="presOf" srcId="{2899965F-F416-614B-A2C8-55BE71E5AB68}" destId="{B130A067-356E-7B48-9286-BAE44A4562EC}" srcOrd="1" destOrd="0" presId="urn:microsoft.com/office/officeart/2005/8/layout/hierarchy2#6"/>
    <dgm:cxn modelId="{CAAC2198-34C5-BA41-BF25-F99EDEA17254}" type="presOf" srcId="{02B10FBF-6C9E-6B4D-9537-7E058700B0DF}" destId="{DBE49202-7EC6-F74D-B2D8-7F411EBF2800}" srcOrd="0" destOrd="0" presId="urn:microsoft.com/office/officeart/2005/8/layout/hierarchy2#6"/>
    <dgm:cxn modelId="{CE6A2699-05AA-4848-AECA-089DE2F34059}" srcId="{DC2C7614-79C1-3748-B6E5-808A70471F99}" destId="{175089D4-034E-7A46-9C37-5CB328C781AE}" srcOrd="1" destOrd="0" parTransId="{E1277071-7B5E-E449-AA21-84B9CCBDADBE}" sibTransId="{7A794400-FD70-F24F-8FFC-57C7624FB5DC}"/>
    <dgm:cxn modelId="{493BD6A8-D55D-0247-A351-186298E5DB5E}" type="presOf" srcId="{54C215A0-22F5-EB41-AB61-859F62440350}" destId="{0263A7EF-291D-2F46-9F58-FAFB68A9330C}" srcOrd="0" destOrd="0" presId="urn:microsoft.com/office/officeart/2005/8/layout/hierarchy2#6"/>
    <dgm:cxn modelId="{F8CE36B5-E873-E544-90AC-6C5EAA174A1F}" type="presOf" srcId="{CAF8F5EB-CC8E-2348-BB61-750D66276C2B}" destId="{3CBCF565-0D18-AD42-82EA-B3A960420BC5}" srcOrd="0" destOrd="0" presId="urn:microsoft.com/office/officeart/2005/8/layout/hierarchy2#6"/>
    <dgm:cxn modelId="{AACDF9B9-874A-EC41-85F8-CD01F221F7A5}" srcId="{F1619D1F-084F-0C4B-8873-4F91AFECCE2C}" destId="{E669F2A4-D0CB-DD45-B585-43E2B2373F38}" srcOrd="2" destOrd="0" parTransId="{D94106E3-2F63-914E-936B-20E3FF04FA33}" sibTransId="{98716748-EB65-3E41-9E36-421AF6DC5E16}"/>
    <dgm:cxn modelId="{3169C5BA-30C2-DE49-8E45-6AA0ADB78E9F}" srcId="{F1619D1F-084F-0C4B-8873-4F91AFECCE2C}" destId="{70C27559-A975-144F-B3EF-574975F91125}" srcOrd="3" destOrd="0" parTransId="{E4783796-B324-BF46-828C-7DD596D0BA6D}" sibTransId="{965B3C6D-07C1-944D-92C8-C876DC5F73DC}"/>
    <dgm:cxn modelId="{5447F7BE-3BFA-E344-BF54-7683FDDB5C5D}" type="presOf" srcId="{48B5BC82-57A3-AD40-845A-25149343745F}" destId="{7C0819C2-8256-F442-B22A-FC5EC0372F14}" srcOrd="0" destOrd="0" presId="urn:microsoft.com/office/officeart/2005/8/layout/hierarchy2#6"/>
    <dgm:cxn modelId="{0F58CEC7-BB6C-DF42-A7B0-90880D2DD3D7}" type="presOf" srcId="{A9710368-7A11-ED41-809E-C9E499E16E55}" destId="{E1038C34-8992-D74A-8274-1845044D8367}" srcOrd="0" destOrd="0" presId="urn:microsoft.com/office/officeart/2005/8/layout/hierarchy2#6"/>
    <dgm:cxn modelId="{001E15D1-E003-A34F-813C-F45F594BF6BD}" type="presOf" srcId="{A9710368-7A11-ED41-809E-C9E499E16E55}" destId="{54270BAD-FAD1-5341-BD33-68861E2DC512}" srcOrd="1" destOrd="0" presId="urn:microsoft.com/office/officeart/2005/8/layout/hierarchy2#6"/>
    <dgm:cxn modelId="{3DCF90D6-F4B4-F745-99A7-EC7D9483B359}" type="presOf" srcId="{BCD55776-20B7-7C4C-9260-54F95F0F7ED9}" destId="{57D56CF0-C13D-824D-BDFF-7C28028B8B73}" srcOrd="0" destOrd="0" presId="urn:microsoft.com/office/officeart/2005/8/layout/hierarchy2#6"/>
    <dgm:cxn modelId="{0D929BD6-E23C-DF47-8F85-189C74723B1B}" type="presOf" srcId="{50B570DA-92A7-5B40-BD7D-44C266E00598}" destId="{438C621B-9117-F54A-80E2-699BC8CD02C5}" srcOrd="1" destOrd="0" presId="urn:microsoft.com/office/officeart/2005/8/layout/hierarchy2#6"/>
    <dgm:cxn modelId="{C30DBBD9-7C3E-A349-BF82-C61E76CAB035}" srcId="{70C27559-A975-144F-B3EF-574975F91125}" destId="{8EEFEA66-D479-DF4A-BEA2-B188D24BC8BC}" srcOrd="0" destOrd="0" parTransId="{A9710368-7A11-ED41-809E-C9E499E16E55}" sibTransId="{25655675-8750-2646-BDF4-21A7ACCE06B9}"/>
    <dgm:cxn modelId="{EBE26ADD-30BF-424B-A451-C21960BA10CA}" type="presOf" srcId="{E669F2A4-D0CB-DD45-B585-43E2B2373F38}" destId="{578FAC8E-E6D7-F649-BCD8-C6A8DBD3990F}" srcOrd="0" destOrd="0" presId="urn:microsoft.com/office/officeart/2005/8/layout/hierarchy2#6"/>
    <dgm:cxn modelId="{ABC248E0-1D85-3344-9CBE-954720E7D1E8}" type="presOf" srcId="{50B570DA-92A7-5B40-BD7D-44C266E00598}" destId="{28089231-4519-0843-9903-B6F029E7E658}" srcOrd="0" destOrd="0" presId="urn:microsoft.com/office/officeart/2005/8/layout/hierarchy2#6"/>
    <dgm:cxn modelId="{65C51CE2-ABBF-D045-9C18-D7283A7D8938}" type="presOf" srcId="{F1619D1F-084F-0C4B-8873-4F91AFECCE2C}" destId="{E2A4F380-81FF-AC48-A4F0-BF45DE3B8DC9}" srcOrd="0" destOrd="0" presId="urn:microsoft.com/office/officeart/2005/8/layout/hierarchy2#6"/>
    <dgm:cxn modelId="{456A2AE6-3369-8A41-85DC-76B56EAE0E96}" srcId="{02B10FBF-6C9E-6B4D-9537-7E058700B0DF}" destId="{C101DB18-83C1-054E-B16B-E8CD819C1293}" srcOrd="1" destOrd="0" parTransId="{2899965F-F416-614B-A2C8-55BE71E5AB68}" sibTransId="{0E9184F3-8079-3941-84A1-8D1EB180F1D7}"/>
    <dgm:cxn modelId="{4C8ABBEC-35C6-B94B-BB38-53B6B1C42144}" type="presOf" srcId="{16F48F30-D040-C44B-968A-40B43FD5F852}" destId="{ADD3AD45-DE0D-664B-B945-83E453C517E6}" srcOrd="0" destOrd="0" presId="urn:microsoft.com/office/officeart/2005/8/layout/hierarchy2#6"/>
    <dgm:cxn modelId="{20FBE5EF-A844-9F41-98C3-224253FDFC31}" srcId="{90CBA2C9-01D1-9D4B-B8DC-488824CE961D}" destId="{797AFE9C-998E-D84D-BD84-E9BBF63D4DF7}" srcOrd="0" destOrd="0" parTransId="{48B5BC82-57A3-AD40-845A-25149343745F}" sibTransId="{5D7558A1-7005-0A48-B7FB-2B929F131B67}"/>
    <dgm:cxn modelId="{57C793F0-3B0A-8D4D-8A2A-20392542B244}" type="presOf" srcId="{2899965F-F416-614B-A2C8-55BE71E5AB68}" destId="{68C7A2CD-96E1-6F43-9D02-896C0B4D13A2}" srcOrd="0" destOrd="0" presId="urn:microsoft.com/office/officeart/2005/8/layout/hierarchy2#6"/>
    <dgm:cxn modelId="{45F382FE-EBAE-2A4C-BE59-C6F469623046}" type="presOf" srcId="{90CBA2C9-01D1-9D4B-B8DC-488824CE961D}" destId="{6C5FFA5A-70BF-4942-BDDB-EE01271FAE70}" srcOrd="0" destOrd="0" presId="urn:microsoft.com/office/officeart/2005/8/layout/hierarchy2#6"/>
    <dgm:cxn modelId="{D6E9AD78-0425-E64C-A345-04DED6FAF935}" type="presParOf" srcId="{E2A4F380-81FF-AC48-A4F0-BF45DE3B8DC9}" destId="{2F9513E9-F6F1-174B-9C92-5F4E6F41A096}" srcOrd="0" destOrd="0" presId="urn:microsoft.com/office/officeart/2005/8/layout/hierarchy2#6"/>
    <dgm:cxn modelId="{3FE8C5F5-3462-7949-B0A8-C4DB6E60B208}" type="presParOf" srcId="{2F9513E9-F6F1-174B-9C92-5F4E6F41A096}" destId="{6C5FFA5A-70BF-4942-BDDB-EE01271FAE70}" srcOrd="0" destOrd="0" presId="urn:microsoft.com/office/officeart/2005/8/layout/hierarchy2#6"/>
    <dgm:cxn modelId="{BB4C2C94-840F-B24A-B366-CE89985EE6EB}" type="presParOf" srcId="{2F9513E9-F6F1-174B-9C92-5F4E6F41A096}" destId="{813E32EF-E1DB-D148-AFB6-3F6EDAE3E550}" srcOrd="1" destOrd="0" presId="urn:microsoft.com/office/officeart/2005/8/layout/hierarchy2#6"/>
    <dgm:cxn modelId="{4A5607A5-2EBF-AC4C-A8C5-024617DFEE50}" type="presParOf" srcId="{813E32EF-E1DB-D148-AFB6-3F6EDAE3E550}" destId="{7C0819C2-8256-F442-B22A-FC5EC0372F14}" srcOrd="0" destOrd="0" presId="urn:microsoft.com/office/officeart/2005/8/layout/hierarchy2#6"/>
    <dgm:cxn modelId="{D041A993-CAF3-E643-9553-96489B2C8683}" type="presParOf" srcId="{7C0819C2-8256-F442-B22A-FC5EC0372F14}" destId="{A169CF7E-C67D-994D-B92C-7C596655860B}" srcOrd="0" destOrd="0" presId="urn:microsoft.com/office/officeart/2005/8/layout/hierarchy2#6"/>
    <dgm:cxn modelId="{4A116BEB-5748-0846-A0CB-5EBF8BC8C039}" type="presParOf" srcId="{813E32EF-E1DB-D148-AFB6-3F6EDAE3E550}" destId="{121BD799-926D-8C43-B249-7924787DA01A}" srcOrd="1" destOrd="0" presId="urn:microsoft.com/office/officeart/2005/8/layout/hierarchy2#6"/>
    <dgm:cxn modelId="{0A0180CC-5E90-884E-B0D5-0A93818C1A0F}" type="presParOf" srcId="{121BD799-926D-8C43-B249-7924787DA01A}" destId="{71374535-BFEF-474F-A4DD-23B92F76F411}" srcOrd="0" destOrd="0" presId="urn:microsoft.com/office/officeart/2005/8/layout/hierarchy2#6"/>
    <dgm:cxn modelId="{57DB57C7-145E-AA42-A166-54A619AD34EF}" type="presParOf" srcId="{121BD799-926D-8C43-B249-7924787DA01A}" destId="{F1BA49CD-5132-7345-9978-2D434CBA6DDA}" srcOrd="1" destOrd="0" presId="urn:microsoft.com/office/officeart/2005/8/layout/hierarchy2#6"/>
    <dgm:cxn modelId="{CBAB37EF-00DC-2747-8CD9-E2D2539B9345}" type="presParOf" srcId="{F1BA49CD-5132-7345-9978-2D434CBA6DDA}" destId="{F2AB43C2-71CD-9B48-B1F5-06D9982A1E0A}" srcOrd="0" destOrd="0" presId="urn:microsoft.com/office/officeart/2005/8/layout/hierarchy2#6"/>
    <dgm:cxn modelId="{03C7006C-17F8-664A-A4BE-D40D1C8617FF}" type="presParOf" srcId="{F2AB43C2-71CD-9B48-B1F5-06D9982A1E0A}" destId="{F10AC0AC-2779-924C-9053-0771213E77B4}" srcOrd="0" destOrd="0" presId="urn:microsoft.com/office/officeart/2005/8/layout/hierarchy2#6"/>
    <dgm:cxn modelId="{60F09470-2E00-AF40-9D58-E037F784EDD7}" type="presParOf" srcId="{F1BA49CD-5132-7345-9978-2D434CBA6DDA}" destId="{4696F891-4CC7-F548-964B-0B86FFBBC00C}" srcOrd="1" destOrd="0" presId="urn:microsoft.com/office/officeart/2005/8/layout/hierarchy2#6"/>
    <dgm:cxn modelId="{01748865-C1D9-E544-B5A4-78D9CD3FD71C}" type="presParOf" srcId="{4696F891-4CC7-F548-964B-0B86FFBBC00C}" destId="{C1373B57-5A7D-2843-93B8-F371E11895EF}" srcOrd="0" destOrd="0" presId="urn:microsoft.com/office/officeart/2005/8/layout/hierarchy2#6"/>
    <dgm:cxn modelId="{74E83951-D8CD-CE4E-9898-DEC5E468712F}" type="presParOf" srcId="{4696F891-4CC7-F548-964B-0B86FFBBC00C}" destId="{6361E079-9516-8249-98B5-2C61B5D154F0}" srcOrd="1" destOrd="0" presId="urn:microsoft.com/office/officeart/2005/8/layout/hierarchy2#6"/>
    <dgm:cxn modelId="{2999E90F-C52B-B845-91BB-C3F169BB0202}" type="presParOf" srcId="{6361E079-9516-8249-98B5-2C61B5D154F0}" destId="{3CBCF565-0D18-AD42-82EA-B3A960420BC5}" srcOrd="0" destOrd="0" presId="urn:microsoft.com/office/officeart/2005/8/layout/hierarchy2#6"/>
    <dgm:cxn modelId="{170757DB-E8B2-3843-B9B0-6D964C17BA02}" type="presParOf" srcId="{3CBCF565-0D18-AD42-82EA-B3A960420BC5}" destId="{88984FEF-E685-6E46-8598-BEEAC3EC3704}" srcOrd="0" destOrd="0" presId="urn:microsoft.com/office/officeart/2005/8/layout/hierarchy2#6"/>
    <dgm:cxn modelId="{0DD92443-4F2A-4F43-AE13-7557C5C58135}" type="presParOf" srcId="{6361E079-9516-8249-98B5-2C61B5D154F0}" destId="{C2405D86-E154-EB4E-9D3C-3005F448CB3B}" srcOrd="1" destOrd="0" presId="urn:microsoft.com/office/officeart/2005/8/layout/hierarchy2#6"/>
    <dgm:cxn modelId="{DB602247-3948-D444-8CFB-2962AD6B56EE}" type="presParOf" srcId="{C2405D86-E154-EB4E-9D3C-3005F448CB3B}" destId="{26FC079C-B752-5F41-A856-0CDFF93985DA}" srcOrd="0" destOrd="0" presId="urn:microsoft.com/office/officeart/2005/8/layout/hierarchy2#6"/>
    <dgm:cxn modelId="{E006EAED-D4EA-2546-AA3C-90ABCF4BE7C7}" type="presParOf" srcId="{C2405D86-E154-EB4E-9D3C-3005F448CB3B}" destId="{BDAD8AC1-DF5B-7C4B-BA57-E2EBA3C47A9C}" srcOrd="1" destOrd="0" presId="urn:microsoft.com/office/officeart/2005/8/layout/hierarchy2#6"/>
    <dgm:cxn modelId="{C9762594-4450-5942-A926-BC9BC2BEBBFE}" type="presParOf" srcId="{6361E079-9516-8249-98B5-2C61B5D154F0}" destId="{45D9446E-47AB-164D-B4CE-DDD3D5628B69}" srcOrd="2" destOrd="0" presId="urn:microsoft.com/office/officeart/2005/8/layout/hierarchy2#6"/>
    <dgm:cxn modelId="{9BBA5047-8891-4646-BB42-307764D50577}" type="presParOf" srcId="{45D9446E-47AB-164D-B4CE-DDD3D5628B69}" destId="{EAAA7648-EF3E-2548-8F02-D489DFAF208A}" srcOrd="0" destOrd="0" presId="urn:microsoft.com/office/officeart/2005/8/layout/hierarchy2#6"/>
    <dgm:cxn modelId="{418E88A5-CEA9-C54C-83B9-09B5F2D79ADE}" type="presParOf" srcId="{6361E079-9516-8249-98B5-2C61B5D154F0}" destId="{CA4F9C52-21E4-0A4C-BD3A-068494D8DA4C}" srcOrd="3" destOrd="0" presId="urn:microsoft.com/office/officeart/2005/8/layout/hierarchy2#6"/>
    <dgm:cxn modelId="{8C1ADDC9-CA22-FD46-BACB-C195133EE083}" type="presParOf" srcId="{CA4F9C52-21E4-0A4C-BD3A-068494D8DA4C}" destId="{2231B17C-F3BC-A748-A254-A4ED44901516}" srcOrd="0" destOrd="0" presId="urn:microsoft.com/office/officeart/2005/8/layout/hierarchy2#6"/>
    <dgm:cxn modelId="{97431032-8149-6F42-9A5F-3B670C458DD3}" type="presParOf" srcId="{CA4F9C52-21E4-0A4C-BD3A-068494D8DA4C}" destId="{BD2917EE-A414-D842-B6B5-AF1CAC2C66E4}" srcOrd="1" destOrd="0" presId="urn:microsoft.com/office/officeart/2005/8/layout/hierarchy2#6"/>
    <dgm:cxn modelId="{741CB37B-DA02-C348-8891-8035A6DE6961}" type="presParOf" srcId="{F1BA49CD-5132-7345-9978-2D434CBA6DDA}" destId="{5DDF439B-EDB3-FC45-A5D8-D245E3308255}" srcOrd="2" destOrd="0" presId="urn:microsoft.com/office/officeart/2005/8/layout/hierarchy2#6"/>
    <dgm:cxn modelId="{4418B090-BE33-7E45-A946-42F914752834}" type="presParOf" srcId="{5DDF439B-EDB3-FC45-A5D8-D245E3308255}" destId="{7B595B26-D299-274F-BBCF-0E42F0263985}" srcOrd="0" destOrd="0" presId="urn:microsoft.com/office/officeart/2005/8/layout/hierarchy2#6"/>
    <dgm:cxn modelId="{AEF87E82-2513-7D43-8083-4D65AC10511A}" type="presParOf" srcId="{F1BA49CD-5132-7345-9978-2D434CBA6DDA}" destId="{5D67F62B-70B1-604B-B982-4B95A3845987}" srcOrd="3" destOrd="0" presId="urn:microsoft.com/office/officeart/2005/8/layout/hierarchy2#6"/>
    <dgm:cxn modelId="{434E2D39-160C-5347-9467-EBD0702B4DAE}" type="presParOf" srcId="{5D67F62B-70B1-604B-B982-4B95A3845987}" destId="{57D56CF0-C13D-824D-BDFF-7C28028B8B73}" srcOrd="0" destOrd="0" presId="urn:microsoft.com/office/officeart/2005/8/layout/hierarchy2#6"/>
    <dgm:cxn modelId="{E3C00BC9-66B8-3446-B485-934C5C089EF7}" type="presParOf" srcId="{5D67F62B-70B1-604B-B982-4B95A3845987}" destId="{D3B3E26A-4EE6-074C-9D13-6865F11CF68A}" srcOrd="1" destOrd="0" presId="urn:microsoft.com/office/officeart/2005/8/layout/hierarchy2#6"/>
    <dgm:cxn modelId="{6F8C55A7-3BF9-C74C-AD32-C06A20F1B588}" type="presParOf" srcId="{813E32EF-E1DB-D148-AFB6-3F6EDAE3E550}" destId="{28089231-4519-0843-9903-B6F029E7E658}" srcOrd="2" destOrd="0" presId="urn:microsoft.com/office/officeart/2005/8/layout/hierarchy2#6"/>
    <dgm:cxn modelId="{08261AE1-ACEA-1A45-9AC1-641700A36E1E}" type="presParOf" srcId="{28089231-4519-0843-9903-B6F029E7E658}" destId="{438C621B-9117-F54A-80E2-699BC8CD02C5}" srcOrd="0" destOrd="0" presId="urn:microsoft.com/office/officeart/2005/8/layout/hierarchy2#6"/>
    <dgm:cxn modelId="{64183F60-58AD-7948-BF8C-0DBA99020E74}" type="presParOf" srcId="{813E32EF-E1DB-D148-AFB6-3F6EDAE3E550}" destId="{9A846637-A798-FC40-BBA3-1539A2CF50A1}" srcOrd="3" destOrd="0" presId="urn:microsoft.com/office/officeart/2005/8/layout/hierarchy2#6"/>
    <dgm:cxn modelId="{77AEBA6C-08D9-374C-83CA-F5CC9342DE48}" type="presParOf" srcId="{9A846637-A798-FC40-BBA3-1539A2CF50A1}" destId="{DBE49202-7EC6-F74D-B2D8-7F411EBF2800}" srcOrd="0" destOrd="0" presId="urn:microsoft.com/office/officeart/2005/8/layout/hierarchy2#6"/>
    <dgm:cxn modelId="{589E6842-8C92-7542-9647-8D6D1C6B982D}" type="presParOf" srcId="{9A846637-A798-FC40-BBA3-1539A2CF50A1}" destId="{93BFEC82-AABD-1247-B559-6F0FCE90C196}" srcOrd="1" destOrd="0" presId="urn:microsoft.com/office/officeart/2005/8/layout/hierarchy2#6"/>
    <dgm:cxn modelId="{5119D48D-76D0-A549-9095-4D311F210E3E}" type="presParOf" srcId="{93BFEC82-AABD-1247-B559-6F0FCE90C196}" destId="{232B6F91-FD38-5640-A143-EA3B1A0EBBB7}" srcOrd="0" destOrd="0" presId="urn:microsoft.com/office/officeart/2005/8/layout/hierarchy2#6"/>
    <dgm:cxn modelId="{EA327775-4258-7444-A9A3-034B8F69D580}" type="presParOf" srcId="{232B6F91-FD38-5640-A143-EA3B1A0EBBB7}" destId="{FE93ED34-E6EA-9B41-B588-447FCC68471E}" srcOrd="0" destOrd="0" presId="urn:microsoft.com/office/officeart/2005/8/layout/hierarchy2#6"/>
    <dgm:cxn modelId="{5E9A1B79-1BE9-B24E-B0C3-99F9E7AED332}" type="presParOf" srcId="{93BFEC82-AABD-1247-B559-6F0FCE90C196}" destId="{8C6E53EC-C5F2-D24A-B8DA-D801E8CCFDD8}" srcOrd="1" destOrd="0" presId="urn:microsoft.com/office/officeart/2005/8/layout/hierarchy2#6"/>
    <dgm:cxn modelId="{41B87F53-1DE3-8546-8D8D-06F4D1703895}" type="presParOf" srcId="{8C6E53EC-C5F2-D24A-B8DA-D801E8CCFDD8}" destId="{0263A7EF-291D-2F46-9F58-FAFB68A9330C}" srcOrd="0" destOrd="0" presId="urn:microsoft.com/office/officeart/2005/8/layout/hierarchy2#6"/>
    <dgm:cxn modelId="{E334C9BF-8851-9344-8F9E-054A56957DF3}" type="presParOf" srcId="{8C6E53EC-C5F2-D24A-B8DA-D801E8CCFDD8}" destId="{31F0A348-862E-3F4D-9AA0-4E325596F595}" srcOrd="1" destOrd="0" presId="urn:microsoft.com/office/officeart/2005/8/layout/hierarchy2#6"/>
    <dgm:cxn modelId="{E33A2AA1-3E9F-0B48-B1E3-66C01BF087D7}" type="presParOf" srcId="{93BFEC82-AABD-1247-B559-6F0FCE90C196}" destId="{68C7A2CD-96E1-6F43-9D02-896C0B4D13A2}" srcOrd="2" destOrd="0" presId="urn:microsoft.com/office/officeart/2005/8/layout/hierarchy2#6"/>
    <dgm:cxn modelId="{DD37B3E8-0051-2B49-B941-4E15A8A14917}" type="presParOf" srcId="{68C7A2CD-96E1-6F43-9D02-896C0B4D13A2}" destId="{B130A067-356E-7B48-9286-BAE44A4562EC}" srcOrd="0" destOrd="0" presId="urn:microsoft.com/office/officeart/2005/8/layout/hierarchy2#6"/>
    <dgm:cxn modelId="{0EDA379F-82CD-1041-B53E-DAC5543347D2}" type="presParOf" srcId="{93BFEC82-AABD-1247-B559-6F0FCE90C196}" destId="{E616C5A3-03F6-4546-8CE5-8D69E799E1E6}" srcOrd="3" destOrd="0" presId="urn:microsoft.com/office/officeart/2005/8/layout/hierarchy2#6"/>
    <dgm:cxn modelId="{A99577FB-0A37-BA4E-ACD7-DED449B704DB}" type="presParOf" srcId="{E616C5A3-03F6-4546-8CE5-8D69E799E1E6}" destId="{A0C91F8B-8675-4948-8BC8-F0524AB7665E}" srcOrd="0" destOrd="0" presId="urn:microsoft.com/office/officeart/2005/8/layout/hierarchy2#6"/>
    <dgm:cxn modelId="{B0CBF2AA-600C-034D-99C6-2E53C54C9FED}" type="presParOf" srcId="{E616C5A3-03F6-4546-8CE5-8D69E799E1E6}" destId="{DC5ABA78-AADB-A64C-A6BA-888D52FBEE31}" srcOrd="1" destOrd="0" presId="urn:microsoft.com/office/officeart/2005/8/layout/hierarchy2#6"/>
    <dgm:cxn modelId="{0E98E9AD-C6FE-F64E-A674-68BB22813604}" type="presParOf" srcId="{E2A4F380-81FF-AC48-A4F0-BF45DE3B8DC9}" destId="{10DEA272-A28E-2345-A69F-87E9F6202188}" srcOrd="1" destOrd="0" presId="urn:microsoft.com/office/officeart/2005/8/layout/hierarchy2#6"/>
    <dgm:cxn modelId="{8D930AAA-F84B-0540-926B-80106DBC600A}" type="presParOf" srcId="{10DEA272-A28E-2345-A69F-87E9F6202188}" destId="{ADD3AD45-DE0D-664B-B945-83E453C517E6}" srcOrd="0" destOrd="0" presId="urn:microsoft.com/office/officeart/2005/8/layout/hierarchy2#6"/>
    <dgm:cxn modelId="{27BBF2A7-AB88-8442-B65C-763FB2B8B3B3}" type="presParOf" srcId="{10DEA272-A28E-2345-A69F-87E9F6202188}" destId="{A2D08E7C-500A-1F47-BDC6-E4F1A491604B}" srcOrd="1" destOrd="0" presId="urn:microsoft.com/office/officeart/2005/8/layout/hierarchy2#6"/>
    <dgm:cxn modelId="{82D6F58D-4EF6-3843-941B-B6E510472E49}" type="presParOf" srcId="{E2A4F380-81FF-AC48-A4F0-BF45DE3B8DC9}" destId="{23AF89F8-D3BD-DF40-B0FD-17085D9748E5}" srcOrd="2" destOrd="0" presId="urn:microsoft.com/office/officeart/2005/8/layout/hierarchy2#6"/>
    <dgm:cxn modelId="{F8664D96-90DD-6442-843C-2D552207B7A2}" type="presParOf" srcId="{23AF89F8-D3BD-DF40-B0FD-17085D9748E5}" destId="{578FAC8E-E6D7-F649-BCD8-C6A8DBD3990F}" srcOrd="0" destOrd="0" presId="urn:microsoft.com/office/officeart/2005/8/layout/hierarchy2#6"/>
    <dgm:cxn modelId="{094D3BF9-E0E9-FF40-B76A-078C1FFE705E}" type="presParOf" srcId="{23AF89F8-D3BD-DF40-B0FD-17085D9748E5}" destId="{8037A18D-7128-E14F-835F-861E72212779}" srcOrd="1" destOrd="0" presId="urn:microsoft.com/office/officeart/2005/8/layout/hierarchy2#6"/>
    <dgm:cxn modelId="{3CDA0A54-D798-A143-833A-7DACC3E1663F}" type="presParOf" srcId="{E2A4F380-81FF-AC48-A4F0-BF45DE3B8DC9}" destId="{A9694F84-D947-B14B-BAD3-39988AB16552}" srcOrd="3" destOrd="0" presId="urn:microsoft.com/office/officeart/2005/8/layout/hierarchy2#6"/>
    <dgm:cxn modelId="{B64B4453-25CF-7345-976C-5D2E863FDF11}" type="presParOf" srcId="{A9694F84-D947-B14B-BAD3-39988AB16552}" destId="{85B18AF4-0054-D249-8187-5F16A5F10959}" srcOrd="0" destOrd="0" presId="urn:microsoft.com/office/officeart/2005/8/layout/hierarchy2#6"/>
    <dgm:cxn modelId="{0ED5A9B6-3959-384F-AF45-FE230A29D23E}" type="presParOf" srcId="{A9694F84-D947-B14B-BAD3-39988AB16552}" destId="{67F79787-CD72-BC45-8C89-A69F4266BF5B}" srcOrd="1" destOrd="0" presId="urn:microsoft.com/office/officeart/2005/8/layout/hierarchy2#6"/>
    <dgm:cxn modelId="{A0CC639A-848B-244D-A9CA-47862651D6AF}" type="presParOf" srcId="{67F79787-CD72-BC45-8C89-A69F4266BF5B}" destId="{E1038C34-8992-D74A-8274-1845044D8367}" srcOrd="0" destOrd="0" presId="urn:microsoft.com/office/officeart/2005/8/layout/hierarchy2#6"/>
    <dgm:cxn modelId="{ADBAB882-EE5B-2547-BFEF-CAE015B68854}" type="presParOf" srcId="{E1038C34-8992-D74A-8274-1845044D8367}" destId="{54270BAD-FAD1-5341-BD33-68861E2DC512}" srcOrd="0" destOrd="0" presId="urn:microsoft.com/office/officeart/2005/8/layout/hierarchy2#6"/>
    <dgm:cxn modelId="{B753822A-9ABB-ED48-B50A-ABE126ED1B44}" type="presParOf" srcId="{67F79787-CD72-BC45-8C89-A69F4266BF5B}" destId="{232CAF22-4EC6-4D46-8BFC-5CA48F165707}" srcOrd="1" destOrd="0" presId="urn:microsoft.com/office/officeart/2005/8/layout/hierarchy2#6"/>
    <dgm:cxn modelId="{3B6F541B-B00C-8C48-B4F3-812D667D7C90}" type="presParOf" srcId="{232CAF22-4EC6-4D46-8BFC-5CA48F165707}" destId="{9E1DE5F7-72F3-0946-B0C4-366531C5EE55}" srcOrd="0" destOrd="0" presId="urn:microsoft.com/office/officeart/2005/8/layout/hierarchy2#6"/>
    <dgm:cxn modelId="{44A91037-62A5-8446-9F84-4E88C784AEFA}" type="presParOf" srcId="{232CAF22-4EC6-4D46-8BFC-5CA48F165707}" destId="{1B7CAE87-5ED6-7D4B-A2B1-912458E9F94C}" srcOrd="1" destOrd="0" presId="urn:microsoft.com/office/officeart/2005/8/layout/hierarchy2#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40F0170-C521-4543-AF17-C2C748B9799C}" type="doc">
      <dgm:prSet loTypeId="urn:microsoft.com/office/officeart/2005/8/layout/process5" loCatId="process" qsTypeId="urn:microsoft.com/office/officeart/2005/8/quickstyle/3d2#3" qsCatId="3D" csTypeId="urn:microsoft.com/office/officeart/2005/8/colors/colorful2" csCatId="colorful" phldr="1"/>
      <dgm:spPr/>
    </dgm:pt>
    <dgm:pt modelId="{3654FBB0-52ED-48FA-B759-064DE891E66B}">
      <dgm:prSet phldrT="[文本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0B1BA208-F3A6-4BFA-AA3B-3BDB9AF83AE5}" type="parTrans" cxnId="{64018D02-2B45-4ED0-8D33-6ED957D929A2}">
      <dgm:prSet/>
      <dgm:spPr/>
      <dgm:t>
        <a:bodyPr/>
        <a:lstStyle/>
        <a:p>
          <a:endParaRPr lang="zh-CN" altLang="en-US"/>
        </a:p>
      </dgm:t>
    </dgm:pt>
    <dgm:pt modelId="{DB6516B5-D152-40FE-9B20-C25DBDC3F3E7}" type="sibTrans" cxnId="{64018D02-2B45-4ED0-8D33-6ED957D929A2}">
      <dgm:prSet/>
      <dgm:spPr/>
      <dgm:t>
        <a:bodyPr/>
        <a:lstStyle/>
        <a:p>
          <a:endParaRPr lang="zh-CN" altLang="en-US"/>
        </a:p>
      </dgm:t>
    </dgm:pt>
    <dgm:pt modelId="{0F47DA10-D1D7-4D10-B742-DFB9763DB21A}">
      <dgm:prSet phldrT="[文本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C6D6F96C-0354-440E-8B4C-30F7393CE7B5}" type="parTrans" cxnId="{B6581B14-0A1E-4F31-AE6B-BA3482052DB4}">
      <dgm:prSet/>
      <dgm:spPr/>
      <dgm:t>
        <a:bodyPr/>
        <a:lstStyle/>
        <a:p>
          <a:endParaRPr lang="zh-CN" altLang="en-US"/>
        </a:p>
      </dgm:t>
    </dgm:pt>
    <dgm:pt modelId="{B748EDC1-1337-4073-9F28-59C4653B560F}" type="sibTrans" cxnId="{B6581B14-0A1E-4F31-AE6B-BA3482052DB4}">
      <dgm:prSet/>
      <dgm:spPr/>
      <dgm:t>
        <a:bodyPr/>
        <a:lstStyle/>
        <a:p>
          <a:endParaRPr lang="zh-CN" altLang="en-US"/>
        </a:p>
      </dgm:t>
    </dgm:pt>
    <dgm:pt modelId="{4E8C170A-FDA9-4781-A23C-9CBB2C8BBE05}">
      <dgm:prSet phldrT="[文本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44EB9C8E-4249-4CC6-AD20-CEA529C2305C}" type="parTrans" cxnId="{A8946060-8FF6-4119-B0DF-D224FCBA4273}">
      <dgm:prSet/>
      <dgm:spPr/>
      <dgm:t>
        <a:bodyPr/>
        <a:lstStyle/>
        <a:p>
          <a:endParaRPr lang="zh-CN" altLang="en-US"/>
        </a:p>
      </dgm:t>
    </dgm:pt>
    <dgm:pt modelId="{650FF023-36EB-432A-A315-55E1519094FE}" type="sibTrans" cxnId="{A8946060-8FF6-4119-B0DF-D224FCBA4273}">
      <dgm:prSet/>
      <dgm:spPr/>
      <dgm:t>
        <a:bodyPr/>
        <a:lstStyle/>
        <a:p>
          <a:endParaRPr lang="zh-CN" altLang="en-US"/>
        </a:p>
      </dgm:t>
    </dgm:pt>
    <dgm:pt modelId="{B155E5C1-17FE-4A29-B7D5-A3A915942518}">
      <dgm:prSet phldrT="[文本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640B258A-F2FA-4377-B50B-A07DF8E56C5C}" type="parTrans" cxnId="{00034282-60FB-4FD6-B4A2-2A09AE43DB78}">
      <dgm:prSet/>
      <dgm:spPr/>
      <dgm:t>
        <a:bodyPr/>
        <a:lstStyle/>
        <a:p>
          <a:endParaRPr lang="zh-CN" altLang="en-US"/>
        </a:p>
      </dgm:t>
    </dgm:pt>
    <dgm:pt modelId="{C5DBD68C-C0A7-4493-BDA5-2A407A943B3A}" type="sibTrans" cxnId="{00034282-60FB-4FD6-B4A2-2A09AE43DB78}">
      <dgm:prSet/>
      <dgm:spPr/>
      <dgm:t>
        <a:bodyPr/>
        <a:lstStyle/>
        <a:p>
          <a:endParaRPr lang="zh-CN" altLang="en-US"/>
        </a:p>
      </dgm:t>
    </dgm:pt>
    <dgm:pt modelId="{2367D3DE-D024-48E0-88AE-AEC0EAFBC4E2}" type="pres">
      <dgm:prSet presAssocID="{C40F0170-C521-4543-AF17-C2C748B9799C}" presName="diagram" presStyleCnt="0">
        <dgm:presLayoutVars>
          <dgm:dir/>
          <dgm:resizeHandles val="exact"/>
        </dgm:presLayoutVars>
      </dgm:prSet>
      <dgm:spPr/>
    </dgm:pt>
    <dgm:pt modelId="{35C49096-D3A9-4DAD-8C6B-C88E4A7796E3}" type="pres">
      <dgm:prSet presAssocID="{3654FBB0-52ED-48FA-B759-064DE891E66B}" presName="node" presStyleLbl="node1" presStyleIdx="0" presStyleCnt="4">
        <dgm:presLayoutVars>
          <dgm:bulletEnabled val="1"/>
        </dgm:presLayoutVars>
      </dgm:prSet>
      <dgm:spPr/>
    </dgm:pt>
    <dgm:pt modelId="{DB42E419-36FA-47B8-B398-39F4DEEB4F0A}" type="pres">
      <dgm:prSet presAssocID="{DB6516B5-D152-40FE-9B20-C25DBDC3F3E7}" presName="sibTrans" presStyleLbl="sibTrans2D1" presStyleIdx="0" presStyleCnt="3"/>
      <dgm:spPr/>
    </dgm:pt>
    <dgm:pt modelId="{113C64B5-4B1B-49A3-A613-7D1DC91D9798}" type="pres">
      <dgm:prSet presAssocID="{DB6516B5-D152-40FE-9B20-C25DBDC3F3E7}" presName="connectorText" presStyleLbl="sibTrans2D1" presStyleIdx="0" presStyleCnt="3"/>
      <dgm:spPr/>
    </dgm:pt>
    <dgm:pt modelId="{54D51531-EFDC-44F5-B6A9-D8A469BDEA38}" type="pres">
      <dgm:prSet presAssocID="{0F47DA10-D1D7-4D10-B742-DFB9763DB21A}" presName="node" presStyleLbl="node1" presStyleIdx="1" presStyleCnt="4">
        <dgm:presLayoutVars>
          <dgm:bulletEnabled val="1"/>
        </dgm:presLayoutVars>
      </dgm:prSet>
      <dgm:spPr/>
    </dgm:pt>
    <dgm:pt modelId="{4CF1376C-2D38-4663-8360-44BBA7432C53}" type="pres">
      <dgm:prSet presAssocID="{B748EDC1-1337-4073-9F28-59C4653B560F}" presName="sibTrans" presStyleLbl="sibTrans2D1" presStyleIdx="1" presStyleCnt="3"/>
      <dgm:spPr/>
    </dgm:pt>
    <dgm:pt modelId="{318987B6-1B71-44E8-AD44-754343BA0958}" type="pres">
      <dgm:prSet presAssocID="{B748EDC1-1337-4073-9F28-59C4653B560F}" presName="connectorText" presStyleLbl="sibTrans2D1" presStyleIdx="1" presStyleCnt="3"/>
      <dgm:spPr/>
    </dgm:pt>
    <dgm:pt modelId="{1DD53DCF-A1E9-4751-857B-6AF97E662E9F}" type="pres">
      <dgm:prSet presAssocID="{4E8C170A-FDA9-4781-A23C-9CBB2C8BBE05}" presName="node" presStyleLbl="node1" presStyleIdx="2" presStyleCnt="4">
        <dgm:presLayoutVars>
          <dgm:bulletEnabled val="1"/>
        </dgm:presLayoutVars>
      </dgm:prSet>
      <dgm:spPr/>
    </dgm:pt>
    <dgm:pt modelId="{9B89744A-8E3A-47E1-8272-071E96C49A48}" type="pres">
      <dgm:prSet presAssocID="{650FF023-36EB-432A-A315-55E1519094FE}" presName="sibTrans" presStyleLbl="sibTrans2D1" presStyleIdx="2" presStyleCnt="3"/>
      <dgm:spPr/>
    </dgm:pt>
    <dgm:pt modelId="{73C5F095-0A54-4FB0-B24E-2A241F024EAF}" type="pres">
      <dgm:prSet presAssocID="{650FF023-36EB-432A-A315-55E1519094FE}" presName="connectorText" presStyleLbl="sibTrans2D1" presStyleIdx="2" presStyleCnt="3"/>
      <dgm:spPr/>
    </dgm:pt>
    <dgm:pt modelId="{9FF08FB5-62B0-4E2E-ACA9-E2007CC81622}" type="pres">
      <dgm:prSet presAssocID="{B155E5C1-17FE-4A29-B7D5-A3A915942518}" presName="node" presStyleLbl="node1" presStyleIdx="3" presStyleCnt="4">
        <dgm:presLayoutVars>
          <dgm:bulletEnabled val="1"/>
        </dgm:presLayoutVars>
      </dgm:prSet>
      <dgm:spPr/>
    </dgm:pt>
  </dgm:ptLst>
  <dgm:cxnLst>
    <dgm:cxn modelId="{64018D02-2B45-4ED0-8D33-6ED957D929A2}" srcId="{C40F0170-C521-4543-AF17-C2C748B9799C}" destId="{3654FBB0-52ED-48FA-B759-064DE891E66B}" srcOrd="0" destOrd="0" parTransId="{0B1BA208-F3A6-4BFA-AA3B-3BDB9AF83AE5}" sibTransId="{DB6516B5-D152-40FE-9B20-C25DBDC3F3E7}"/>
    <dgm:cxn modelId="{B6581B14-0A1E-4F31-AE6B-BA3482052DB4}" srcId="{C40F0170-C521-4543-AF17-C2C748B9799C}" destId="{0F47DA10-D1D7-4D10-B742-DFB9763DB21A}" srcOrd="1" destOrd="0" parTransId="{C6D6F96C-0354-440E-8B4C-30F7393CE7B5}" sibTransId="{B748EDC1-1337-4073-9F28-59C4653B560F}"/>
    <dgm:cxn modelId="{B297BF1E-38D6-428D-B84F-8D11E5EC0EE7}" type="presOf" srcId="{3654FBB0-52ED-48FA-B759-064DE891E66B}" destId="{35C49096-D3A9-4DAD-8C6B-C88E4A7796E3}" srcOrd="0" destOrd="0" presId="urn:microsoft.com/office/officeart/2005/8/layout/process5"/>
    <dgm:cxn modelId="{552F183F-2C88-4E6A-B2B2-B7F54C8604B6}" type="presOf" srcId="{B155E5C1-17FE-4A29-B7D5-A3A915942518}" destId="{9FF08FB5-62B0-4E2E-ACA9-E2007CC81622}" srcOrd="0" destOrd="0" presId="urn:microsoft.com/office/officeart/2005/8/layout/process5"/>
    <dgm:cxn modelId="{A8946060-8FF6-4119-B0DF-D224FCBA4273}" srcId="{C40F0170-C521-4543-AF17-C2C748B9799C}" destId="{4E8C170A-FDA9-4781-A23C-9CBB2C8BBE05}" srcOrd="2" destOrd="0" parTransId="{44EB9C8E-4249-4CC6-AD20-CEA529C2305C}" sibTransId="{650FF023-36EB-432A-A315-55E1519094FE}"/>
    <dgm:cxn modelId="{7657AA7D-71E6-4CC3-A905-6C240E9FDC4C}" type="presOf" srcId="{650FF023-36EB-432A-A315-55E1519094FE}" destId="{9B89744A-8E3A-47E1-8272-071E96C49A48}" srcOrd="0" destOrd="0" presId="urn:microsoft.com/office/officeart/2005/8/layout/process5"/>
    <dgm:cxn modelId="{54802980-B67F-420D-BC0B-8FB106CF8D13}" type="presOf" srcId="{DB6516B5-D152-40FE-9B20-C25DBDC3F3E7}" destId="{113C64B5-4B1B-49A3-A613-7D1DC91D9798}" srcOrd="1" destOrd="0" presId="urn:microsoft.com/office/officeart/2005/8/layout/process5"/>
    <dgm:cxn modelId="{00034282-60FB-4FD6-B4A2-2A09AE43DB78}" srcId="{C40F0170-C521-4543-AF17-C2C748B9799C}" destId="{B155E5C1-17FE-4A29-B7D5-A3A915942518}" srcOrd="3" destOrd="0" parTransId="{640B258A-F2FA-4377-B50B-A07DF8E56C5C}" sibTransId="{C5DBD68C-C0A7-4493-BDA5-2A407A943B3A}"/>
    <dgm:cxn modelId="{49068798-A3C2-4D8A-BE3C-389273E418B9}" type="presOf" srcId="{C40F0170-C521-4543-AF17-C2C748B9799C}" destId="{2367D3DE-D024-48E0-88AE-AEC0EAFBC4E2}" srcOrd="0" destOrd="0" presId="urn:microsoft.com/office/officeart/2005/8/layout/process5"/>
    <dgm:cxn modelId="{30A9E6A5-A166-4922-BFFA-59B36428EF3C}" type="presOf" srcId="{B748EDC1-1337-4073-9F28-59C4653B560F}" destId="{318987B6-1B71-44E8-AD44-754343BA0958}" srcOrd="1" destOrd="0" presId="urn:microsoft.com/office/officeart/2005/8/layout/process5"/>
    <dgm:cxn modelId="{27B4E0B3-B4AA-4D38-8A1E-BC3ED4B0079D}" type="presOf" srcId="{4E8C170A-FDA9-4781-A23C-9CBB2C8BBE05}" destId="{1DD53DCF-A1E9-4751-857B-6AF97E662E9F}" srcOrd="0" destOrd="0" presId="urn:microsoft.com/office/officeart/2005/8/layout/process5"/>
    <dgm:cxn modelId="{B24AD3B9-4EE8-491D-BD6B-CEFE8EC0E998}" type="presOf" srcId="{DB6516B5-D152-40FE-9B20-C25DBDC3F3E7}" destId="{DB42E419-36FA-47B8-B398-39F4DEEB4F0A}" srcOrd="0" destOrd="0" presId="urn:microsoft.com/office/officeart/2005/8/layout/process5"/>
    <dgm:cxn modelId="{055D85D0-2314-4A38-8200-CB1200E90FC7}" type="presOf" srcId="{650FF023-36EB-432A-A315-55E1519094FE}" destId="{73C5F095-0A54-4FB0-B24E-2A241F024EAF}" srcOrd="1" destOrd="0" presId="urn:microsoft.com/office/officeart/2005/8/layout/process5"/>
    <dgm:cxn modelId="{AE087DE3-CA5D-49E4-937C-F1CDF4B07772}" type="presOf" srcId="{B748EDC1-1337-4073-9F28-59C4653B560F}" destId="{4CF1376C-2D38-4663-8360-44BBA7432C53}" srcOrd="0" destOrd="0" presId="urn:microsoft.com/office/officeart/2005/8/layout/process5"/>
    <dgm:cxn modelId="{D42A36E5-CB7E-4A1C-AC80-2948AB4EBF73}" type="presOf" srcId="{0F47DA10-D1D7-4D10-B742-DFB9763DB21A}" destId="{54D51531-EFDC-44F5-B6A9-D8A469BDEA38}" srcOrd="0" destOrd="0" presId="urn:microsoft.com/office/officeart/2005/8/layout/process5"/>
    <dgm:cxn modelId="{C476E7F9-AE22-492B-995E-E2A914F76F28}" type="presParOf" srcId="{2367D3DE-D024-48E0-88AE-AEC0EAFBC4E2}" destId="{35C49096-D3A9-4DAD-8C6B-C88E4A7796E3}" srcOrd="0" destOrd="0" presId="urn:microsoft.com/office/officeart/2005/8/layout/process5"/>
    <dgm:cxn modelId="{40B385A2-471E-4072-92F0-AEC2A97F8B53}" type="presParOf" srcId="{2367D3DE-D024-48E0-88AE-AEC0EAFBC4E2}" destId="{DB42E419-36FA-47B8-B398-39F4DEEB4F0A}" srcOrd="1" destOrd="0" presId="urn:microsoft.com/office/officeart/2005/8/layout/process5"/>
    <dgm:cxn modelId="{7E980189-D58A-4F73-840A-A691AD82904A}" type="presParOf" srcId="{DB42E419-36FA-47B8-B398-39F4DEEB4F0A}" destId="{113C64B5-4B1B-49A3-A613-7D1DC91D9798}" srcOrd="0" destOrd="0" presId="urn:microsoft.com/office/officeart/2005/8/layout/process5"/>
    <dgm:cxn modelId="{9B02E4AF-3424-4B6D-ABC5-4FE640500F6A}" type="presParOf" srcId="{2367D3DE-D024-48E0-88AE-AEC0EAFBC4E2}" destId="{54D51531-EFDC-44F5-B6A9-D8A469BDEA38}" srcOrd="2" destOrd="0" presId="urn:microsoft.com/office/officeart/2005/8/layout/process5"/>
    <dgm:cxn modelId="{E0DAE385-B631-4215-9DB2-FE576CC5FD1B}" type="presParOf" srcId="{2367D3DE-D024-48E0-88AE-AEC0EAFBC4E2}" destId="{4CF1376C-2D38-4663-8360-44BBA7432C53}" srcOrd="3" destOrd="0" presId="urn:microsoft.com/office/officeart/2005/8/layout/process5"/>
    <dgm:cxn modelId="{5F0F49AC-BACD-4DE2-92C0-0B063833541C}" type="presParOf" srcId="{4CF1376C-2D38-4663-8360-44BBA7432C53}" destId="{318987B6-1B71-44E8-AD44-754343BA0958}" srcOrd="0" destOrd="0" presId="urn:microsoft.com/office/officeart/2005/8/layout/process5"/>
    <dgm:cxn modelId="{61FCFA07-6AEA-4DE2-8765-9EC855EDCCE9}" type="presParOf" srcId="{2367D3DE-D024-48E0-88AE-AEC0EAFBC4E2}" destId="{1DD53DCF-A1E9-4751-857B-6AF97E662E9F}" srcOrd="4" destOrd="0" presId="urn:microsoft.com/office/officeart/2005/8/layout/process5"/>
    <dgm:cxn modelId="{07E60159-3E72-4337-AC76-2BD291992EA0}" type="presParOf" srcId="{2367D3DE-D024-48E0-88AE-AEC0EAFBC4E2}" destId="{9B89744A-8E3A-47E1-8272-071E96C49A48}" srcOrd="5" destOrd="0" presId="urn:microsoft.com/office/officeart/2005/8/layout/process5"/>
    <dgm:cxn modelId="{2CA47B6E-0213-4247-ABFC-0D75DA2377B2}" type="presParOf" srcId="{9B89744A-8E3A-47E1-8272-071E96C49A48}" destId="{73C5F095-0A54-4FB0-B24E-2A241F024EAF}" srcOrd="0" destOrd="0" presId="urn:microsoft.com/office/officeart/2005/8/layout/process5"/>
    <dgm:cxn modelId="{3D866345-31C6-4ED9-8BC8-AA830D43351A}" type="presParOf" srcId="{2367D3DE-D024-48E0-88AE-AEC0EAFBC4E2}" destId="{9FF08FB5-62B0-4E2E-ACA9-E2007CC81622}" srcOrd="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8DAB952-AF06-4352-862D-0B7AE7B08FA7}" type="doc">
      <dgm:prSet loTypeId="urn:microsoft.com/office/officeart/2005/8/layout/process1" loCatId="process" qsTypeId="urn:microsoft.com/office/officeart/2005/8/quickstyle/3d2#4" qsCatId="3D" csTypeId="urn:microsoft.com/office/officeart/2005/8/colors/colorful2" csCatId="colorful" phldr="1"/>
      <dgm:spPr/>
    </dgm:pt>
    <dgm:pt modelId="{49B43C49-B3B6-41BB-8D93-AEFBE93B816C}">
      <dgm:prSet phldrT="[文本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2000" b="1" dirty="0">
              <a:latin typeface="微软雅黑" pitchFamily="34" charset="-122"/>
              <a:ea typeface="微软雅黑" pitchFamily="34" charset="-122"/>
            </a:rPr>
            <a:t>调研</a:t>
          </a:r>
        </a:p>
      </dgm:t>
    </dgm:pt>
    <dgm:pt modelId="{ECA509EC-8F07-431C-AB23-D05F9FD7D08D}" type="parTrans" cxnId="{CB07047F-A38D-45A8-84BB-318FD3C51A4D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ADC7CD28-9574-4663-AD84-B2CFD7230470}" type="sibTrans" cxnId="{CB07047F-A38D-45A8-84BB-318FD3C51A4D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B7C81A49-8723-49E5-882A-87F4577E69B1}">
      <dgm:prSet phldrT="[文本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2000" b="1" dirty="0">
              <a:latin typeface="微软雅黑" pitchFamily="34" charset="-122"/>
              <a:ea typeface="微软雅黑" pitchFamily="34" charset="-122"/>
            </a:rPr>
            <a:t>需求</a:t>
          </a:r>
        </a:p>
      </dgm:t>
    </dgm:pt>
    <dgm:pt modelId="{0B47EDD7-9ABD-4589-B4B1-8DF9494E20D3}" type="parTrans" cxnId="{9B356A29-6C29-472B-8F3B-14299F624BC6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5EB8D837-3D37-4F06-A1E3-A925909BE4C4}" type="sibTrans" cxnId="{9B356A29-6C29-472B-8F3B-14299F624BC6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C30AB5C3-FECA-45FB-BDB2-EC22DD053544}">
      <dgm:prSet phldrT="[文本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2000" b="1" dirty="0">
              <a:latin typeface="微软雅黑" pitchFamily="34" charset="-122"/>
              <a:ea typeface="微软雅黑" pitchFamily="34" charset="-122"/>
            </a:rPr>
            <a:t>开发</a:t>
          </a:r>
        </a:p>
      </dgm:t>
    </dgm:pt>
    <dgm:pt modelId="{88B377CC-A75B-414B-9690-7EEF7DD8336F}" type="parTrans" cxnId="{D4F18E7C-EF07-40C6-87CF-113CA6A94892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677B60F5-6DB7-4478-A00D-17E184D19566}" type="sibTrans" cxnId="{D4F18E7C-EF07-40C6-87CF-113CA6A94892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A1EB0F38-3C96-4B05-8BE1-E5B0EC709372}">
      <dgm:prSet phldrT="[文本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2000" b="1" dirty="0">
              <a:latin typeface="微软雅黑" pitchFamily="34" charset="-122"/>
              <a:ea typeface="微软雅黑" pitchFamily="34" charset="-122"/>
            </a:rPr>
            <a:t>测试</a:t>
          </a:r>
        </a:p>
      </dgm:t>
    </dgm:pt>
    <dgm:pt modelId="{ACD4CD35-9356-45F7-BB19-D85DBD5DB497}" type="parTrans" cxnId="{CAE1439C-1150-450F-8EC1-8444C644962D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37A542F7-B099-441A-89A6-3AC2E2DDF886}" type="sibTrans" cxnId="{CAE1439C-1150-450F-8EC1-8444C644962D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02C6E6B3-7731-4263-9E17-63242FB5732A}">
      <dgm:prSet phldrT="[文本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2000" b="1" dirty="0">
              <a:latin typeface="微软雅黑" pitchFamily="34" charset="-122"/>
              <a:ea typeface="微软雅黑" pitchFamily="34" charset="-122"/>
            </a:rPr>
            <a:t>上线</a:t>
          </a:r>
        </a:p>
      </dgm:t>
    </dgm:pt>
    <dgm:pt modelId="{1880CC7E-B382-49DE-A9F4-F7591F6A2A4B}" type="parTrans" cxnId="{F6F3CD3B-78DF-4FC3-AEC4-9AA757D773DE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A4448612-50D8-42BA-9E7B-C8EE054F6486}" type="sibTrans" cxnId="{F6F3CD3B-78DF-4FC3-AEC4-9AA757D773DE}">
      <dgm:prSet custT="1"/>
      <dgm:spPr/>
      <dgm:t>
        <a:bodyPr/>
        <a:lstStyle/>
        <a:p>
          <a:endParaRPr lang="zh-CN" altLang="en-US" sz="700" b="1">
            <a:latin typeface="微软雅黑" pitchFamily="34" charset="-122"/>
            <a:ea typeface="微软雅黑" pitchFamily="34" charset="-122"/>
          </a:endParaRPr>
        </a:p>
      </dgm:t>
    </dgm:pt>
    <dgm:pt modelId="{26704DCD-5BF3-4738-A902-F1C06CEF74A6}">
      <dgm:prSet phldrT="[文本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sz="2000" b="1" dirty="0">
              <a:latin typeface="微软雅黑" pitchFamily="34" charset="-122"/>
              <a:ea typeface="微软雅黑" pitchFamily="34" charset="-122"/>
            </a:rPr>
            <a:t>结项</a:t>
          </a:r>
        </a:p>
      </dgm:t>
    </dgm:pt>
    <dgm:pt modelId="{4EE05DEB-D144-4774-839A-C8581B98DB24}" type="parTrans" cxnId="{9796C900-85CE-4023-8EAD-EA3BC1F2F92D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6A503EF0-396D-45FF-8BB6-A7B6ABE861D4}" type="sibTrans" cxnId="{9796C900-85CE-4023-8EAD-EA3BC1F2F92D}">
      <dgm:prSet/>
      <dgm:spPr/>
      <dgm:t>
        <a:bodyPr/>
        <a:lstStyle/>
        <a:p>
          <a:endParaRPr lang="zh-CN" altLang="en-US" sz="1400" b="1">
            <a:latin typeface="微软雅黑" pitchFamily="34" charset="-122"/>
            <a:ea typeface="微软雅黑" pitchFamily="34" charset="-122"/>
          </a:endParaRPr>
        </a:p>
      </dgm:t>
    </dgm:pt>
    <dgm:pt modelId="{218EACBE-B947-4F52-A0B3-A92E25966229}" type="pres">
      <dgm:prSet presAssocID="{88DAB952-AF06-4352-862D-0B7AE7B08FA7}" presName="Name0" presStyleCnt="0">
        <dgm:presLayoutVars>
          <dgm:dir/>
          <dgm:resizeHandles val="exact"/>
        </dgm:presLayoutVars>
      </dgm:prSet>
      <dgm:spPr/>
    </dgm:pt>
    <dgm:pt modelId="{5C684966-1FFA-4F68-A063-45D61376F367}" type="pres">
      <dgm:prSet presAssocID="{49B43C49-B3B6-41BB-8D93-AEFBE93B816C}" presName="node" presStyleLbl="node1" presStyleIdx="0" presStyleCnt="6">
        <dgm:presLayoutVars>
          <dgm:bulletEnabled val="1"/>
        </dgm:presLayoutVars>
      </dgm:prSet>
      <dgm:spPr/>
    </dgm:pt>
    <dgm:pt modelId="{99F5B203-6627-4C4E-90FC-7EE84B702379}" type="pres">
      <dgm:prSet presAssocID="{ADC7CD28-9574-4663-AD84-B2CFD7230470}" presName="sibTrans" presStyleLbl="sibTrans2D1" presStyleIdx="0" presStyleCnt="5"/>
      <dgm:spPr/>
    </dgm:pt>
    <dgm:pt modelId="{B1BA0F1F-74E7-403A-B004-F791BCC9FA84}" type="pres">
      <dgm:prSet presAssocID="{ADC7CD28-9574-4663-AD84-B2CFD7230470}" presName="connectorText" presStyleLbl="sibTrans2D1" presStyleIdx="0" presStyleCnt="5"/>
      <dgm:spPr/>
    </dgm:pt>
    <dgm:pt modelId="{D3203EC6-D7CF-458E-9BEC-E1CEE6280A57}" type="pres">
      <dgm:prSet presAssocID="{B7C81A49-8723-49E5-882A-87F4577E69B1}" presName="node" presStyleLbl="node1" presStyleIdx="1" presStyleCnt="6">
        <dgm:presLayoutVars>
          <dgm:bulletEnabled val="1"/>
        </dgm:presLayoutVars>
      </dgm:prSet>
      <dgm:spPr/>
    </dgm:pt>
    <dgm:pt modelId="{BC0F8849-E5F0-4611-94DD-C1FEE9099027}" type="pres">
      <dgm:prSet presAssocID="{5EB8D837-3D37-4F06-A1E3-A925909BE4C4}" presName="sibTrans" presStyleLbl="sibTrans2D1" presStyleIdx="1" presStyleCnt="5"/>
      <dgm:spPr/>
    </dgm:pt>
    <dgm:pt modelId="{21C1ABA4-A052-4A58-8FF6-362707C28B5D}" type="pres">
      <dgm:prSet presAssocID="{5EB8D837-3D37-4F06-A1E3-A925909BE4C4}" presName="connectorText" presStyleLbl="sibTrans2D1" presStyleIdx="1" presStyleCnt="5"/>
      <dgm:spPr/>
    </dgm:pt>
    <dgm:pt modelId="{D591789F-896F-4EEA-8604-AA39259DAF7F}" type="pres">
      <dgm:prSet presAssocID="{C30AB5C3-FECA-45FB-BDB2-EC22DD053544}" presName="node" presStyleLbl="node1" presStyleIdx="2" presStyleCnt="6">
        <dgm:presLayoutVars>
          <dgm:bulletEnabled val="1"/>
        </dgm:presLayoutVars>
      </dgm:prSet>
      <dgm:spPr/>
    </dgm:pt>
    <dgm:pt modelId="{0AE6F030-7360-4432-9545-09B0412E0A09}" type="pres">
      <dgm:prSet presAssocID="{677B60F5-6DB7-4478-A00D-17E184D19566}" presName="sibTrans" presStyleLbl="sibTrans2D1" presStyleIdx="2" presStyleCnt="5"/>
      <dgm:spPr/>
    </dgm:pt>
    <dgm:pt modelId="{7FB61F9E-7DFB-4FEC-9446-5434989961E9}" type="pres">
      <dgm:prSet presAssocID="{677B60F5-6DB7-4478-A00D-17E184D19566}" presName="connectorText" presStyleLbl="sibTrans2D1" presStyleIdx="2" presStyleCnt="5"/>
      <dgm:spPr/>
    </dgm:pt>
    <dgm:pt modelId="{8027F083-4252-41FC-BE35-CD911DC4EFD4}" type="pres">
      <dgm:prSet presAssocID="{A1EB0F38-3C96-4B05-8BE1-E5B0EC709372}" presName="node" presStyleLbl="node1" presStyleIdx="3" presStyleCnt="6">
        <dgm:presLayoutVars>
          <dgm:bulletEnabled val="1"/>
        </dgm:presLayoutVars>
      </dgm:prSet>
      <dgm:spPr/>
    </dgm:pt>
    <dgm:pt modelId="{B4FDCBD5-ACBE-4849-B033-729241191D58}" type="pres">
      <dgm:prSet presAssocID="{37A542F7-B099-441A-89A6-3AC2E2DDF886}" presName="sibTrans" presStyleLbl="sibTrans2D1" presStyleIdx="3" presStyleCnt="5"/>
      <dgm:spPr/>
    </dgm:pt>
    <dgm:pt modelId="{96892090-9549-4D8F-812C-7EB3DD8F4901}" type="pres">
      <dgm:prSet presAssocID="{37A542F7-B099-441A-89A6-3AC2E2DDF886}" presName="connectorText" presStyleLbl="sibTrans2D1" presStyleIdx="3" presStyleCnt="5"/>
      <dgm:spPr/>
    </dgm:pt>
    <dgm:pt modelId="{CE417D40-EE58-4168-9A00-CCE5AA006975}" type="pres">
      <dgm:prSet presAssocID="{02C6E6B3-7731-4263-9E17-63242FB5732A}" presName="node" presStyleLbl="node1" presStyleIdx="4" presStyleCnt="6">
        <dgm:presLayoutVars>
          <dgm:bulletEnabled val="1"/>
        </dgm:presLayoutVars>
      </dgm:prSet>
      <dgm:spPr/>
    </dgm:pt>
    <dgm:pt modelId="{7B0B0AA8-437A-4744-B352-536FBA908B52}" type="pres">
      <dgm:prSet presAssocID="{A4448612-50D8-42BA-9E7B-C8EE054F6486}" presName="sibTrans" presStyleLbl="sibTrans2D1" presStyleIdx="4" presStyleCnt="5"/>
      <dgm:spPr/>
    </dgm:pt>
    <dgm:pt modelId="{82AE5365-46D5-459D-A5A4-B2E300F2D148}" type="pres">
      <dgm:prSet presAssocID="{A4448612-50D8-42BA-9E7B-C8EE054F6486}" presName="connectorText" presStyleLbl="sibTrans2D1" presStyleIdx="4" presStyleCnt="5"/>
      <dgm:spPr/>
    </dgm:pt>
    <dgm:pt modelId="{26E9B699-D9C8-4984-B683-0C9D15CE3717}" type="pres">
      <dgm:prSet presAssocID="{26704DCD-5BF3-4738-A902-F1C06CEF74A6}" presName="node" presStyleLbl="node1" presStyleIdx="5" presStyleCnt="6">
        <dgm:presLayoutVars>
          <dgm:bulletEnabled val="1"/>
        </dgm:presLayoutVars>
      </dgm:prSet>
      <dgm:spPr/>
    </dgm:pt>
  </dgm:ptLst>
  <dgm:cxnLst>
    <dgm:cxn modelId="{9796C900-85CE-4023-8EAD-EA3BC1F2F92D}" srcId="{88DAB952-AF06-4352-862D-0B7AE7B08FA7}" destId="{26704DCD-5BF3-4738-A902-F1C06CEF74A6}" srcOrd="5" destOrd="0" parTransId="{4EE05DEB-D144-4774-839A-C8581B98DB24}" sibTransId="{6A503EF0-396D-45FF-8BB6-A7B6ABE861D4}"/>
    <dgm:cxn modelId="{8E8DC506-5071-4835-BC94-E7BF9F63D593}" type="presOf" srcId="{26704DCD-5BF3-4738-A902-F1C06CEF74A6}" destId="{26E9B699-D9C8-4984-B683-0C9D15CE3717}" srcOrd="0" destOrd="0" presId="urn:microsoft.com/office/officeart/2005/8/layout/process1"/>
    <dgm:cxn modelId="{9B356A29-6C29-472B-8F3B-14299F624BC6}" srcId="{88DAB952-AF06-4352-862D-0B7AE7B08FA7}" destId="{B7C81A49-8723-49E5-882A-87F4577E69B1}" srcOrd="1" destOrd="0" parTransId="{0B47EDD7-9ABD-4589-B4B1-8DF9494E20D3}" sibTransId="{5EB8D837-3D37-4F06-A1E3-A925909BE4C4}"/>
    <dgm:cxn modelId="{F6F3CD3B-78DF-4FC3-AEC4-9AA757D773DE}" srcId="{88DAB952-AF06-4352-862D-0B7AE7B08FA7}" destId="{02C6E6B3-7731-4263-9E17-63242FB5732A}" srcOrd="4" destOrd="0" parTransId="{1880CC7E-B382-49DE-A9F4-F7591F6A2A4B}" sibTransId="{A4448612-50D8-42BA-9E7B-C8EE054F6486}"/>
    <dgm:cxn modelId="{38629241-DC0F-4A49-801E-3A941392D1CB}" type="presOf" srcId="{A4448612-50D8-42BA-9E7B-C8EE054F6486}" destId="{82AE5365-46D5-459D-A5A4-B2E300F2D148}" srcOrd="1" destOrd="0" presId="urn:microsoft.com/office/officeart/2005/8/layout/process1"/>
    <dgm:cxn modelId="{3F549843-B839-488E-A4C3-ADDE3B4D2F4B}" type="presOf" srcId="{B7C81A49-8723-49E5-882A-87F4577E69B1}" destId="{D3203EC6-D7CF-458E-9BEC-E1CEE6280A57}" srcOrd="0" destOrd="0" presId="urn:microsoft.com/office/officeart/2005/8/layout/process1"/>
    <dgm:cxn modelId="{C6C07348-8F3A-4E22-A49C-D6AB299ED13A}" type="presOf" srcId="{49B43C49-B3B6-41BB-8D93-AEFBE93B816C}" destId="{5C684966-1FFA-4F68-A063-45D61376F367}" srcOrd="0" destOrd="0" presId="urn:microsoft.com/office/officeart/2005/8/layout/process1"/>
    <dgm:cxn modelId="{3D8A1E50-DEB8-4055-A813-8171C4FFE1C8}" type="presOf" srcId="{A1EB0F38-3C96-4B05-8BE1-E5B0EC709372}" destId="{8027F083-4252-41FC-BE35-CD911DC4EFD4}" srcOrd="0" destOrd="0" presId="urn:microsoft.com/office/officeart/2005/8/layout/process1"/>
    <dgm:cxn modelId="{5FDB285B-0B92-406F-AD1E-CB330CD7A26D}" type="presOf" srcId="{677B60F5-6DB7-4478-A00D-17E184D19566}" destId="{0AE6F030-7360-4432-9545-09B0412E0A09}" srcOrd="0" destOrd="0" presId="urn:microsoft.com/office/officeart/2005/8/layout/process1"/>
    <dgm:cxn modelId="{1CD32E6A-1E9B-4223-8BC1-DD19123D1D2B}" type="presOf" srcId="{5EB8D837-3D37-4F06-A1E3-A925909BE4C4}" destId="{BC0F8849-E5F0-4611-94DD-C1FEE9099027}" srcOrd="0" destOrd="0" presId="urn:microsoft.com/office/officeart/2005/8/layout/process1"/>
    <dgm:cxn modelId="{A4AC686A-969C-4505-BC90-F54373F00CC5}" type="presOf" srcId="{02C6E6B3-7731-4263-9E17-63242FB5732A}" destId="{CE417D40-EE58-4168-9A00-CCE5AA006975}" srcOrd="0" destOrd="0" presId="urn:microsoft.com/office/officeart/2005/8/layout/process1"/>
    <dgm:cxn modelId="{9A18F36E-4992-4303-87F3-7291485077A8}" type="presOf" srcId="{88DAB952-AF06-4352-862D-0B7AE7B08FA7}" destId="{218EACBE-B947-4F52-A0B3-A92E25966229}" srcOrd="0" destOrd="0" presId="urn:microsoft.com/office/officeart/2005/8/layout/process1"/>
    <dgm:cxn modelId="{D4F18E7C-EF07-40C6-87CF-113CA6A94892}" srcId="{88DAB952-AF06-4352-862D-0B7AE7B08FA7}" destId="{C30AB5C3-FECA-45FB-BDB2-EC22DD053544}" srcOrd="2" destOrd="0" parTransId="{88B377CC-A75B-414B-9690-7EEF7DD8336F}" sibTransId="{677B60F5-6DB7-4478-A00D-17E184D19566}"/>
    <dgm:cxn modelId="{CB07047F-A38D-45A8-84BB-318FD3C51A4D}" srcId="{88DAB952-AF06-4352-862D-0B7AE7B08FA7}" destId="{49B43C49-B3B6-41BB-8D93-AEFBE93B816C}" srcOrd="0" destOrd="0" parTransId="{ECA509EC-8F07-431C-AB23-D05F9FD7D08D}" sibTransId="{ADC7CD28-9574-4663-AD84-B2CFD7230470}"/>
    <dgm:cxn modelId="{CAE1439C-1150-450F-8EC1-8444C644962D}" srcId="{88DAB952-AF06-4352-862D-0B7AE7B08FA7}" destId="{A1EB0F38-3C96-4B05-8BE1-E5B0EC709372}" srcOrd="3" destOrd="0" parTransId="{ACD4CD35-9356-45F7-BB19-D85DBD5DB497}" sibTransId="{37A542F7-B099-441A-89A6-3AC2E2DDF886}"/>
    <dgm:cxn modelId="{7B769BB3-00A7-4739-BC02-40FCFD5C2E45}" type="presOf" srcId="{ADC7CD28-9574-4663-AD84-B2CFD7230470}" destId="{B1BA0F1F-74E7-403A-B004-F791BCC9FA84}" srcOrd="1" destOrd="0" presId="urn:microsoft.com/office/officeart/2005/8/layout/process1"/>
    <dgm:cxn modelId="{CC68ACD8-B6D5-44B9-A816-92AD0E3EA570}" type="presOf" srcId="{C30AB5C3-FECA-45FB-BDB2-EC22DD053544}" destId="{D591789F-896F-4EEA-8604-AA39259DAF7F}" srcOrd="0" destOrd="0" presId="urn:microsoft.com/office/officeart/2005/8/layout/process1"/>
    <dgm:cxn modelId="{04DD4CDB-D1A4-4A0A-9441-21D081FB681A}" type="presOf" srcId="{37A542F7-B099-441A-89A6-3AC2E2DDF886}" destId="{96892090-9549-4D8F-812C-7EB3DD8F4901}" srcOrd="1" destOrd="0" presId="urn:microsoft.com/office/officeart/2005/8/layout/process1"/>
    <dgm:cxn modelId="{C96213E2-789E-4796-8529-E679BE14055D}" type="presOf" srcId="{5EB8D837-3D37-4F06-A1E3-A925909BE4C4}" destId="{21C1ABA4-A052-4A58-8FF6-362707C28B5D}" srcOrd="1" destOrd="0" presId="urn:microsoft.com/office/officeart/2005/8/layout/process1"/>
    <dgm:cxn modelId="{584911EA-717E-495E-B4D6-2C2A13969187}" type="presOf" srcId="{A4448612-50D8-42BA-9E7B-C8EE054F6486}" destId="{7B0B0AA8-437A-4744-B352-536FBA908B52}" srcOrd="0" destOrd="0" presId="urn:microsoft.com/office/officeart/2005/8/layout/process1"/>
    <dgm:cxn modelId="{02B5A3EC-9CF6-42DE-9DA8-CD26DD2C6BF6}" type="presOf" srcId="{ADC7CD28-9574-4663-AD84-B2CFD7230470}" destId="{99F5B203-6627-4C4E-90FC-7EE84B702379}" srcOrd="0" destOrd="0" presId="urn:microsoft.com/office/officeart/2005/8/layout/process1"/>
    <dgm:cxn modelId="{3CD060EE-6838-438C-B548-595186F74591}" type="presOf" srcId="{677B60F5-6DB7-4478-A00D-17E184D19566}" destId="{7FB61F9E-7DFB-4FEC-9446-5434989961E9}" srcOrd="1" destOrd="0" presId="urn:microsoft.com/office/officeart/2005/8/layout/process1"/>
    <dgm:cxn modelId="{CE153CEF-256E-4A0B-A908-D27DADA63426}" type="presOf" srcId="{37A542F7-B099-441A-89A6-3AC2E2DDF886}" destId="{B4FDCBD5-ACBE-4849-B033-729241191D58}" srcOrd="0" destOrd="0" presId="urn:microsoft.com/office/officeart/2005/8/layout/process1"/>
    <dgm:cxn modelId="{24981750-4EE3-4838-AF32-36F443B38656}" type="presParOf" srcId="{218EACBE-B947-4F52-A0B3-A92E25966229}" destId="{5C684966-1FFA-4F68-A063-45D61376F367}" srcOrd="0" destOrd="0" presId="urn:microsoft.com/office/officeart/2005/8/layout/process1"/>
    <dgm:cxn modelId="{82B1669E-2F7F-44F8-B825-6E5779DD87A5}" type="presParOf" srcId="{218EACBE-B947-4F52-A0B3-A92E25966229}" destId="{99F5B203-6627-4C4E-90FC-7EE84B702379}" srcOrd="1" destOrd="0" presId="urn:microsoft.com/office/officeart/2005/8/layout/process1"/>
    <dgm:cxn modelId="{4D02D3CB-FAA6-41B3-930F-B500E47F5E62}" type="presParOf" srcId="{99F5B203-6627-4C4E-90FC-7EE84B702379}" destId="{B1BA0F1F-74E7-403A-B004-F791BCC9FA84}" srcOrd="0" destOrd="0" presId="urn:microsoft.com/office/officeart/2005/8/layout/process1"/>
    <dgm:cxn modelId="{B2CF1E68-7790-49D7-88E9-FF58DB575372}" type="presParOf" srcId="{218EACBE-B947-4F52-A0B3-A92E25966229}" destId="{D3203EC6-D7CF-458E-9BEC-E1CEE6280A57}" srcOrd="2" destOrd="0" presId="urn:microsoft.com/office/officeart/2005/8/layout/process1"/>
    <dgm:cxn modelId="{62270A7E-B82C-4C2D-AEC4-56EE9695DB16}" type="presParOf" srcId="{218EACBE-B947-4F52-A0B3-A92E25966229}" destId="{BC0F8849-E5F0-4611-94DD-C1FEE9099027}" srcOrd="3" destOrd="0" presId="urn:microsoft.com/office/officeart/2005/8/layout/process1"/>
    <dgm:cxn modelId="{3521A2A0-6EA2-40DE-9E93-9A42768DEA73}" type="presParOf" srcId="{BC0F8849-E5F0-4611-94DD-C1FEE9099027}" destId="{21C1ABA4-A052-4A58-8FF6-362707C28B5D}" srcOrd="0" destOrd="0" presId="urn:microsoft.com/office/officeart/2005/8/layout/process1"/>
    <dgm:cxn modelId="{7066B525-2BC4-4F63-B93C-11010E1F5779}" type="presParOf" srcId="{218EACBE-B947-4F52-A0B3-A92E25966229}" destId="{D591789F-896F-4EEA-8604-AA39259DAF7F}" srcOrd="4" destOrd="0" presId="urn:microsoft.com/office/officeart/2005/8/layout/process1"/>
    <dgm:cxn modelId="{E8CA10AD-562B-4BDD-AA09-D7DC9BC4A8C6}" type="presParOf" srcId="{218EACBE-B947-4F52-A0B3-A92E25966229}" destId="{0AE6F030-7360-4432-9545-09B0412E0A09}" srcOrd="5" destOrd="0" presId="urn:microsoft.com/office/officeart/2005/8/layout/process1"/>
    <dgm:cxn modelId="{C6A1F62B-AEDE-4C1D-A30C-9D3A713C3B3D}" type="presParOf" srcId="{0AE6F030-7360-4432-9545-09B0412E0A09}" destId="{7FB61F9E-7DFB-4FEC-9446-5434989961E9}" srcOrd="0" destOrd="0" presId="urn:microsoft.com/office/officeart/2005/8/layout/process1"/>
    <dgm:cxn modelId="{83938C2F-0EEB-45AD-8B87-8C08C163166C}" type="presParOf" srcId="{218EACBE-B947-4F52-A0B3-A92E25966229}" destId="{8027F083-4252-41FC-BE35-CD911DC4EFD4}" srcOrd="6" destOrd="0" presId="urn:microsoft.com/office/officeart/2005/8/layout/process1"/>
    <dgm:cxn modelId="{3B9BB0AC-E726-41B7-9B0D-3DAED318A9B9}" type="presParOf" srcId="{218EACBE-B947-4F52-A0B3-A92E25966229}" destId="{B4FDCBD5-ACBE-4849-B033-729241191D58}" srcOrd="7" destOrd="0" presId="urn:microsoft.com/office/officeart/2005/8/layout/process1"/>
    <dgm:cxn modelId="{FB762922-B17E-4580-B580-1AD4DAC54567}" type="presParOf" srcId="{B4FDCBD5-ACBE-4849-B033-729241191D58}" destId="{96892090-9549-4D8F-812C-7EB3DD8F4901}" srcOrd="0" destOrd="0" presId="urn:microsoft.com/office/officeart/2005/8/layout/process1"/>
    <dgm:cxn modelId="{E74CE02B-EC47-4CDF-98A2-1722F3344867}" type="presParOf" srcId="{218EACBE-B947-4F52-A0B3-A92E25966229}" destId="{CE417D40-EE58-4168-9A00-CCE5AA006975}" srcOrd="8" destOrd="0" presId="urn:microsoft.com/office/officeart/2005/8/layout/process1"/>
    <dgm:cxn modelId="{9AAD5568-9C1C-4516-A1A1-843155BDC1D9}" type="presParOf" srcId="{218EACBE-B947-4F52-A0B3-A92E25966229}" destId="{7B0B0AA8-437A-4744-B352-536FBA908B52}" srcOrd="9" destOrd="0" presId="urn:microsoft.com/office/officeart/2005/8/layout/process1"/>
    <dgm:cxn modelId="{3DE237C7-BC88-4657-9377-3D78B473C9DD}" type="presParOf" srcId="{7B0B0AA8-437A-4744-B352-536FBA908B52}" destId="{82AE5365-46D5-459D-A5A4-B2E300F2D148}" srcOrd="0" destOrd="0" presId="urn:microsoft.com/office/officeart/2005/8/layout/process1"/>
    <dgm:cxn modelId="{10BB03DD-95C5-4C13-B0D7-B0F4661408D7}" type="presParOf" srcId="{218EACBE-B947-4F52-A0B3-A92E25966229}" destId="{26E9B699-D9C8-4984-B683-0C9D15CE3717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40F0170-C521-4543-AF17-C2C748B9799C}" type="doc">
      <dgm:prSet loTypeId="urn:microsoft.com/office/officeart/2005/8/layout/process5" loCatId="process" qsTypeId="urn:microsoft.com/office/officeart/2005/8/quickstyle/3d2#5" qsCatId="3D" csTypeId="urn:microsoft.com/office/officeart/2005/8/colors/colorful2" csCatId="colorful" phldr="1"/>
      <dgm:spPr/>
    </dgm:pt>
    <dgm:pt modelId="{3654FBB0-52ED-48FA-B759-064DE891E66B}">
      <dgm:prSet phldrT="[文本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0B1BA208-F3A6-4BFA-AA3B-3BDB9AF83AE5}" type="parTrans" cxnId="{64018D02-2B45-4ED0-8D33-6ED957D929A2}">
      <dgm:prSet/>
      <dgm:spPr/>
      <dgm:t>
        <a:bodyPr/>
        <a:lstStyle/>
        <a:p>
          <a:endParaRPr lang="zh-CN" altLang="en-US"/>
        </a:p>
      </dgm:t>
    </dgm:pt>
    <dgm:pt modelId="{DB6516B5-D152-40FE-9B20-C25DBDC3F3E7}" type="sibTrans" cxnId="{64018D02-2B45-4ED0-8D33-6ED957D929A2}">
      <dgm:prSet/>
      <dgm:spPr/>
      <dgm:t>
        <a:bodyPr/>
        <a:lstStyle/>
        <a:p>
          <a:endParaRPr lang="zh-CN" altLang="en-US"/>
        </a:p>
      </dgm:t>
    </dgm:pt>
    <dgm:pt modelId="{0F47DA10-D1D7-4D10-B742-DFB9763DB21A}">
      <dgm:prSet phldrT="[文本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C6D6F96C-0354-440E-8B4C-30F7393CE7B5}" type="parTrans" cxnId="{B6581B14-0A1E-4F31-AE6B-BA3482052DB4}">
      <dgm:prSet/>
      <dgm:spPr/>
      <dgm:t>
        <a:bodyPr/>
        <a:lstStyle/>
        <a:p>
          <a:endParaRPr lang="zh-CN" altLang="en-US"/>
        </a:p>
      </dgm:t>
    </dgm:pt>
    <dgm:pt modelId="{B748EDC1-1337-4073-9F28-59C4653B560F}" type="sibTrans" cxnId="{B6581B14-0A1E-4F31-AE6B-BA3482052DB4}">
      <dgm:prSet/>
      <dgm:spPr/>
      <dgm:t>
        <a:bodyPr/>
        <a:lstStyle/>
        <a:p>
          <a:endParaRPr lang="zh-CN" altLang="en-US"/>
        </a:p>
      </dgm:t>
    </dgm:pt>
    <dgm:pt modelId="{4E8C170A-FDA9-4781-A23C-9CBB2C8BBE05}">
      <dgm:prSet phldrT="[文本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44EB9C8E-4249-4CC6-AD20-CEA529C2305C}" type="parTrans" cxnId="{A8946060-8FF6-4119-B0DF-D224FCBA4273}">
      <dgm:prSet/>
      <dgm:spPr/>
      <dgm:t>
        <a:bodyPr/>
        <a:lstStyle/>
        <a:p>
          <a:endParaRPr lang="zh-CN" altLang="en-US"/>
        </a:p>
      </dgm:t>
    </dgm:pt>
    <dgm:pt modelId="{650FF023-36EB-432A-A315-55E1519094FE}" type="sibTrans" cxnId="{A8946060-8FF6-4119-B0DF-D224FCBA4273}">
      <dgm:prSet/>
      <dgm:spPr/>
      <dgm:t>
        <a:bodyPr/>
        <a:lstStyle/>
        <a:p>
          <a:endParaRPr lang="zh-CN" altLang="en-US"/>
        </a:p>
      </dgm:t>
    </dgm:pt>
    <dgm:pt modelId="{B155E5C1-17FE-4A29-B7D5-A3A915942518}">
      <dgm:prSet phldrT="[文本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zh-CN" altLang="en-US" sz="2400" dirty="0">
            <a:latin typeface="宋体" pitchFamily="2" charset="-122"/>
            <a:ea typeface="宋体" pitchFamily="2" charset="-122"/>
          </a:endParaRPr>
        </a:p>
      </dgm:t>
    </dgm:pt>
    <dgm:pt modelId="{640B258A-F2FA-4377-B50B-A07DF8E56C5C}" type="parTrans" cxnId="{00034282-60FB-4FD6-B4A2-2A09AE43DB78}">
      <dgm:prSet/>
      <dgm:spPr/>
      <dgm:t>
        <a:bodyPr/>
        <a:lstStyle/>
        <a:p>
          <a:endParaRPr lang="zh-CN" altLang="en-US"/>
        </a:p>
      </dgm:t>
    </dgm:pt>
    <dgm:pt modelId="{C5DBD68C-C0A7-4493-BDA5-2A407A943B3A}" type="sibTrans" cxnId="{00034282-60FB-4FD6-B4A2-2A09AE43DB78}">
      <dgm:prSet/>
      <dgm:spPr/>
      <dgm:t>
        <a:bodyPr/>
        <a:lstStyle/>
        <a:p>
          <a:endParaRPr lang="zh-CN" altLang="en-US"/>
        </a:p>
      </dgm:t>
    </dgm:pt>
    <dgm:pt modelId="{2367D3DE-D024-48E0-88AE-AEC0EAFBC4E2}" type="pres">
      <dgm:prSet presAssocID="{C40F0170-C521-4543-AF17-C2C748B9799C}" presName="diagram" presStyleCnt="0">
        <dgm:presLayoutVars>
          <dgm:dir/>
          <dgm:resizeHandles val="exact"/>
        </dgm:presLayoutVars>
      </dgm:prSet>
      <dgm:spPr/>
    </dgm:pt>
    <dgm:pt modelId="{35C49096-D3A9-4DAD-8C6B-C88E4A7796E3}" type="pres">
      <dgm:prSet presAssocID="{3654FBB0-52ED-48FA-B759-064DE891E66B}" presName="node" presStyleLbl="node1" presStyleIdx="0" presStyleCnt="4">
        <dgm:presLayoutVars>
          <dgm:bulletEnabled val="1"/>
        </dgm:presLayoutVars>
      </dgm:prSet>
      <dgm:spPr/>
    </dgm:pt>
    <dgm:pt modelId="{DB42E419-36FA-47B8-B398-39F4DEEB4F0A}" type="pres">
      <dgm:prSet presAssocID="{DB6516B5-D152-40FE-9B20-C25DBDC3F3E7}" presName="sibTrans" presStyleLbl="sibTrans2D1" presStyleIdx="0" presStyleCnt="3"/>
      <dgm:spPr/>
    </dgm:pt>
    <dgm:pt modelId="{113C64B5-4B1B-49A3-A613-7D1DC91D9798}" type="pres">
      <dgm:prSet presAssocID="{DB6516B5-D152-40FE-9B20-C25DBDC3F3E7}" presName="connectorText" presStyleLbl="sibTrans2D1" presStyleIdx="0" presStyleCnt="3"/>
      <dgm:spPr/>
    </dgm:pt>
    <dgm:pt modelId="{54D51531-EFDC-44F5-B6A9-D8A469BDEA38}" type="pres">
      <dgm:prSet presAssocID="{0F47DA10-D1D7-4D10-B742-DFB9763DB21A}" presName="node" presStyleLbl="node1" presStyleIdx="1" presStyleCnt="4">
        <dgm:presLayoutVars>
          <dgm:bulletEnabled val="1"/>
        </dgm:presLayoutVars>
      </dgm:prSet>
      <dgm:spPr/>
    </dgm:pt>
    <dgm:pt modelId="{4CF1376C-2D38-4663-8360-44BBA7432C53}" type="pres">
      <dgm:prSet presAssocID="{B748EDC1-1337-4073-9F28-59C4653B560F}" presName="sibTrans" presStyleLbl="sibTrans2D1" presStyleIdx="1" presStyleCnt="3"/>
      <dgm:spPr/>
    </dgm:pt>
    <dgm:pt modelId="{318987B6-1B71-44E8-AD44-754343BA0958}" type="pres">
      <dgm:prSet presAssocID="{B748EDC1-1337-4073-9F28-59C4653B560F}" presName="connectorText" presStyleLbl="sibTrans2D1" presStyleIdx="1" presStyleCnt="3"/>
      <dgm:spPr/>
    </dgm:pt>
    <dgm:pt modelId="{1DD53DCF-A1E9-4751-857B-6AF97E662E9F}" type="pres">
      <dgm:prSet presAssocID="{4E8C170A-FDA9-4781-A23C-9CBB2C8BBE05}" presName="node" presStyleLbl="node1" presStyleIdx="2" presStyleCnt="4">
        <dgm:presLayoutVars>
          <dgm:bulletEnabled val="1"/>
        </dgm:presLayoutVars>
      </dgm:prSet>
      <dgm:spPr/>
    </dgm:pt>
    <dgm:pt modelId="{9B89744A-8E3A-47E1-8272-071E96C49A48}" type="pres">
      <dgm:prSet presAssocID="{650FF023-36EB-432A-A315-55E1519094FE}" presName="sibTrans" presStyleLbl="sibTrans2D1" presStyleIdx="2" presStyleCnt="3"/>
      <dgm:spPr/>
    </dgm:pt>
    <dgm:pt modelId="{73C5F095-0A54-4FB0-B24E-2A241F024EAF}" type="pres">
      <dgm:prSet presAssocID="{650FF023-36EB-432A-A315-55E1519094FE}" presName="connectorText" presStyleLbl="sibTrans2D1" presStyleIdx="2" presStyleCnt="3"/>
      <dgm:spPr/>
    </dgm:pt>
    <dgm:pt modelId="{9FF08FB5-62B0-4E2E-ACA9-E2007CC81622}" type="pres">
      <dgm:prSet presAssocID="{B155E5C1-17FE-4A29-B7D5-A3A915942518}" presName="node" presStyleLbl="node1" presStyleIdx="3" presStyleCnt="4">
        <dgm:presLayoutVars>
          <dgm:bulletEnabled val="1"/>
        </dgm:presLayoutVars>
      </dgm:prSet>
      <dgm:spPr/>
    </dgm:pt>
  </dgm:ptLst>
  <dgm:cxnLst>
    <dgm:cxn modelId="{64018D02-2B45-4ED0-8D33-6ED957D929A2}" srcId="{C40F0170-C521-4543-AF17-C2C748B9799C}" destId="{3654FBB0-52ED-48FA-B759-064DE891E66B}" srcOrd="0" destOrd="0" parTransId="{0B1BA208-F3A6-4BFA-AA3B-3BDB9AF83AE5}" sibTransId="{DB6516B5-D152-40FE-9B20-C25DBDC3F3E7}"/>
    <dgm:cxn modelId="{6C41FA02-C2C6-4A0D-9E83-09519399C009}" type="presOf" srcId="{650FF023-36EB-432A-A315-55E1519094FE}" destId="{9B89744A-8E3A-47E1-8272-071E96C49A48}" srcOrd="0" destOrd="0" presId="urn:microsoft.com/office/officeart/2005/8/layout/process5"/>
    <dgm:cxn modelId="{E8AE3C06-5EED-42D5-AF77-C08FCEF425A1}" type="presOf" srcId="{650FF023-36EB-432A-A315-55E1519094FE}" destId="{73C5F095-0A54-4FB0-B24E-2A241F024EAF}" srcOrd="1" destOrd="0" presId="urn:microsoft.com/office/officeart/2005/8/layout/process5"/>
    <dgm:cxn modelId="{1FF2520B-0678-46C2-A6D5-6CD727D29A63}" type="presOf" srcId="{B748EDC1-1337-4073-9F28-59C4653B560F}" destId="{4CF1376C-2D38-4663-8360-44BBA7432C53}" srcOrd="0" destOrd="0" presId="urn:microsoft.com/office/officeart/2005/8/layout/process5"/>
    <dgm:cxn modelId="{B6581B14-0A1E-4F31-AE6B-BA3482052DB4}" srcId="{C40F0170-C521-4543-AF17-C2C748B9799C}" destId="{0F47DA10-D1D7-4D10-B742-DFB9763DB21A}" srcOrd="1" destOrd="0" parTransId="{C6D6F96C-0354-440E-8B4C-30F7393CE7B5}" sibTransId="{B748EDC1-1337-4073-9F28-59C4653B560F}"/>
    <dgm:cxn modelId="{B9466231-7414-4588-B158-8EF437CBE680}" type="presOf" srcId="{4E8C170A-FDA9-4781-A23C-9CBB2C8BBE05}" destId="{1DD53DCF-A1E9-4751-857B-6AF97E662E9F}" srcOrd="0" destOrd="0" presId="urn:microsoft.com/office/officeart/2005/8/layout/process5"/>
    <dgm:cxn modelId="{89B2E444-CBC9-4FAD-A50E-64730C18F9BD}" type="presOf" srcId="{DB6516B5-D152-40FE-9B20-C25DBDC3F3E7}" destId="{DB42E419-36FA-47B8-B398-39F4DEEB4F0A}" srcOrd="0" destOrd="0" presId="urn:microsoft.com/office/officeart/2005/8/layout/process5"/>
    <dgm:cxn modelId="{5F40EF44-64EB-4676-9B85-819C815766A2}" type="presOf" srcId="{3654FBB0-52ED-48FA-B759-064DE891E66B}" destId="{35C49096-D3A9-4DAD-8C6B-C88E4A7796E3}" srcOrd="0" destOrd="0" presId="urn:microsoft.com/office/officeart/2005/8/layout/process5"/>
    <dgm:cxn modelId="{AC09D55B-D9FF-480F-9F8D-65C9A868C8E3}" type="presOf" srcId="{DB6516B5-D152-40FE-9B20-C25DBDC3F3E7}" destId="{113C64B5-4B1B-49A3-A613-7D1DC91D9798}" srcOrd="1" destOrd="0" presId="urn:microsoft.com/office/officeart/2005/8/layout/process5"/>
    <dgm:cxn modelId="{A8946060-8FF6-4119-B0DF-D224FCBA4273}" srcId="{C40F0170-C521-4543-AF17-C2C748B9799C}" destId="{4E8C170A-FDA9-4781-A23C-9CBB2C8BBE05}" srcOrd="2" destOrd="0" parTransId="{44EB9C8E-4249-4CC6-AD20-CEA529C2305C}" sibTransId="{650FF023-36EB-432A-A315-55E1519094FE}"/>
    <dgm:cxn modelId="{00034282-60FB-4FD6-B4A2-2A09AE43DB78}" srcId="{C40F0170-C521-4543-AF17-C2C748B9799C}" destId="{B155E5C1-17FE-4A29-B7D5-A3A915942518}" srcOrd="3" destOrd="0" parTransId="{640B258A-F2FA-4377-B50B-A07DF8E56C5C}" sibTransId="{C5DBD68C-C0A7-4493-BDA5-2A407A943B3A}"/>
    <dgm:cxn modelId="{81FC2483-E513-47D0-84A3-7FA3E6C7BBA9}" type="presOf" srcId="{C40F0170-C521-4543-AF17-C2C748B9799C}" destId="{2367D3DE-D024-48E0-88AE-AEC0EAFBC4E2}" srcOrd="0" destOrd="0" presId="urn:microsoft.com/office/officeart/2005/8/layout/process5"/>
    <dgm:cxn modelId="{D6C889BC-BB33-45DD-810A-4BE903919378}" type="presOf" srcId="{0F47DA10-D1D7-4D10-B742-DFB9763DB21A}" destId="{54D51531-EFDC-44F5-B6A9-D8A469BDEA38}" srcOrd="0" destOrd="0" presId="urn:microsoft.com/office/officeart/2005/8/layout/process5"/>
    <dgm:cxn modelId="{F33FE4DC-F010-4853-B191-E972D514D398}" type="presOf" srcId="{B155E5C1-17FE-4A29-B7D5-A3A915942518}" destId="{9FF08FB5-62B0-4E2E-ACA9-E2007CC81622}" srcOrd="0" destOrd="0" presId="urn:microsoft.com/office/officeart/2005/8/layout/process5"/>
    <dgm:cxn modelId="{FFF625EB-DF8A-47B8-BD90-ADA7979E6A43}" type="presOf" srcId="{B748EDC1-1337-4073-9F28-59C4653B560F}" destId="{318987B6-1B71-44E8-AD44-754343BA0958}" srcOrd="1" destOrd="0" presId="urn:microsoft.com/office/officeart/2005/8/layout/process5"/>
    <dgm:cxn modelId="{A2816C3C-B6C8-460E-A413-68F1BCB49CBB}" type="presParOf" srcId="{2367D3DE-D024-48E0-88AE-AEC0EAFBC4E2}" destId="{35C49096-D3A9-4DAD-8C6B-C88E4A7796E3}" srcOrd="0" destOrd="0" presId="urn:microsoft.com/office/officeart/2005/8/layout/process5"/>
    <dgm:cxn modelId="{FA57EEA8-1E9E-4188-AFF3-7D6A4C234EFE}" type="presParOf" srcId="{2367D3DE-D024-48E0-88AE-AEC0EAFBC4E2}" destId="{DB42E419-36FA-47B8-B398-39F4DEEB4F0A}" srcOrd="1" destOrd="0" presId="urn:microsoft.com/office/officeart/2005/8/layout/process5"/>
    <dgm:cxn modelId="{ACDDE01F-680B-41DE-ADBC-4B209CAB0805}" type="presParOf" srcId="{DB42E419-36FA-47B8-B398-39F4DEEB4F0A}" destId="{113C64B5-4B1B-49A3-A613-7D1DC91D9798}" srcOrd="0" destOrd="0" presId="urn:microsoft.com/office/officeart/2005/8/layout/process5"/>
    <dgm:cxn modelId="{A8DC8E50-DBB0-4D9B-895A-52C2E6145AED}" type="presParOf" srcId="{2367D3DE-D024-48E0-88AE-AEC0EAFBC4E2}" destId="{54D51531-EFDC-44F5-B6A9-D8A469BDEA38}" srcOrd="2" destOrd="0" presId="urn:microsoft.com/office/officeart/2005/8/layout/process5"/>
    <dgm:cxn modelId="{AD445FB5-57DD-4368-B49F-B55B2BFA80C9}" type="presParOf" srcId="{2367D3DE-D024-48E0-88AE-AEC0EAFBC4E2}" destId="{4CF1376C-2D38-4663-8360-44BBA7432C53}" srcOrd="3" destOrd="0" presId="urn:microsoft.com/office/officeart/2005/8/layout/process5"/>
    <dgm:cxn modelId="{A45C5DF7-3D0D-45B9-965B-BA0D48BFC424}" type="presParOf" srcId="{4CF1376C-2D38-4663-8360-44BBA7432C53}" destId="{318987B6-1B71-44E8-AD44-754343BA0958}" srcOrd="0" destOrd="0" presId="urn:microsoft.com/office/officeart/2005/8/layout/process5"/>
    <dgm:cxn modelId="{76B51676-14CE-4CBA-A82D-3D27CC821FF8}" type="presParOf" srcId="{2367D3DE-D024-48E0-88AE-AEC0EAFBC4E2}" destId="{1DD53DCF-A1E9-4751-857B-6AF97E662E9F}" srcOrd="4" destOrd="0" presId="urn:microsoft.com/office/officeart/2005/8/layout/process5"/>
    <dgm:cxn modelId="{D32EE3A9-1824-40F8-BEF3-AE60637EEE95}" type="presParOf" srcId="{2367D3DE-D024-48E0-88AE-AEC0EAFBC4E2}" destId="{9B89744A-8E3A-47E1-8272-071E96C49A48}" srcOrd="5" destOrd="0" presId="urn:microsoft.com/office/officeart/2005/8/layout/process5"/>
    <dgm:cxn modelId="{232B639C-D787-4B24-B10A-E95645C337DE}" type="presParOf" srcId="{9B89744A-8E3A-47E1-8272-071E96C49A48}" destId="{73C5F095-0A54-4FB0-B24E-2A241F024EAF}" srcOrd="0" destOrd="0" presId="urn:microsoft.com/office/officeart/2005/8/layout/process5"/>
    <dgm:cxn modelId="{DE81D958-BB11-4B1A-A284-5DB5B37E9686}" type="presParOf" srcId="{2367D3DE-D024-48E0-88AE-AEC0EAFBC4E2}" destId="{9FF08FB5-62B0-4E2E-ACA9-E2007CC81622}" srcOrd="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35A22B3-DD60-4E62-9DB2-61B209DF4B29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B4C9C90-F545-4895-928B-D14AC33D24D8}">
      <dgm:prSet phldrT="[文本]" custT="1"/>
      <dgm:spPr/>
      <dgm:t>
        <a:bodyPr/>
        <a:lstStyle/>
        <a:p>
          <a:r>
            <a:rPr lang="en-US" altLang="zh-CN" sz="2400" dirty="0">
              <a:latin typeface="微软雅黑" pitchFamily="34" charset="-122"/>
              <a:ea typeface="微软雅黑" pitchFamily="34" charset="-122"/>
            </a:rPr>
            <a:t>Scrum</a:t>
          </a:r>
          <a:endParaRPr lang="zh-CN" altLang="en-US" sz="2400" dirty="0">
            <a:latin typeface="微软雅黑" pitchFamily="34" charset="-122"/>
            <a:ea typeface="微软雅黑" pitchFamily="34" charset="-122"/>
          </a:endParaRPr>
        </a:p>
      </dgm:t>
    </dgm:pt>
    <dgm:pt modelId="{1A294F8E-CA1D-496F-9EF2-707D49B22F0C}" type="parTrans" cxnId="{602C55AE-A6B2-4ED8-A0D6-AB9E039AFAFF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32C17D04-73D6-4133-9FCE-7517FB156B95}" type="sibTrans" cxnId="{602C55AE-A6B2-4ED8-A0D6-AB9E039AFAFF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70DC3303-D72D-4A00-98AB-F297B729F101}">
      <dgm:prSet phldrT="[文本]" custT="1"/>
      <dgm:spPr/>
      <dgm:t>
        <a:bodyPr/>
        <a:lstStyle/>
        <a:p>
          <a:r>
            <a:rPr lang="zh-CN" altLang="en-US" sz="1600" b="0" i="0" dirty="0">
              <a:effectLst/>
              <a:latin typeface="微软雅黑" pitchFamily="34" charset="-122"/>
              <a:ea typeface="微软雅黑" pitchFamily="34" charset="-122"/>
            </a:rPr>
            <a:t>迭代式增量软件开发过程，用于敏捷软件开发。</a:t>
          </a:r>
          <a:endParaRPr lang="zh-CN" altLang="en-US" sz="1600" dirty="0">
            <a:effectLst/>
            <a:latin typeface="微软雅黑" pitchFamily="34" charset="-122"/>
            <a:ea typeface="微软雅黑" pitchFamily="34" charset="-122"/>
          </a:endParaRPr>
        </a:p>
      </dgm:t>
    </dgm:pt>
    <dgm:pt modelId="{2F2B4F67-B83D-4669-AFF0-6EAEEC21043A}" type="parTrans" cxnId="{4236152B-5142-45EF-A803-FF8089E804D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760604E7-F590-4A2E-B0B5-0D29F8DDF0B3}" type="sibTrans" cxnId="{4236152B-5142-45EF-A803-FF8089E804D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1D5E9E3B-2F60-411D-A37D-75E8017652BF}">
      <dgm:prSet phldrT="[文本]" custT="1"/>
      <dgm:spPr/>
      <dgm:t>
        <a:bodyPr/>
        <a:lstStyle/>
        <a:p>
          <a:r>
            <a:rPr lang="zh-CN" altLang="en-US" sz="2400" dirty="0">
              <a:latin typeface="微软雅黑" pitchFamily="34" charset="-122"/>
              <a:ea typeface="微软雅黑" pitchFamily="34" charset="-122"/>
            </a:rPr>
            <a:t>持续集成</a:t>
          </a:r>
        </a:p>
      </dgm:t>
    </dgm:pt>
    <dgm:pt modelId="{636992A8-7777-490B-969F-8D2131DC335B}" type="parTrans" cxnId="{6C766631-FB18-4CEE-B188-C9B687933518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7A22CB96-FC0C-4527-9A04-158011349038}" type="sibTrans" cxnId="{6C766631-FB18-4CEE-B188-C9B687933518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55947FE6-5FEB-41CA-A0C5-A44EFFD48489}">
      <dgm:prSet phldrT="[文本]" custT="1"/>
      <dgm:spPr/>
      <dgm:t>
        <a:bodyPr/>
        <a:lstStyle/>
        <a:p>
          <a:r>
            <a:rPr lang="zh-CN" altLang="en-US" sz="1600" b="0" i="0" dirty="0">
              <a:latin typeface="微软雅黑" pitchFamily="34" charset="-122"/>
              <a:ea typeface="微软雅黑" pitchFamily="34" charset="-122"/>
            </a:rPr>
            <a:t>软件开发和运维实践</a:t>
          </a:r>
          <a:endParaRPr lang="zh-CN" altLang="en-US" sz="1600" dirty="0">
            <a:latin typeface="微软雅黑" pitchFamily="34" charset="-122"/>
            <a:ea typeface="微软雅黑" pitchFamily="34" charset="-122"/>
          </a:endParaRPr>
        </a:p>
      </dgm:t>
    </dgm:pt>
    <dgm:pt modelId="{050A28D8-74EF-49B4-9F42-4D99B7055340}" type="parTrans" cxnId="{049F81A9-4618-4503-840B-086492298B0B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B9A99D90-CDFD-49BF-81F2-F3DC27713D2D}" type="sibTrans" cxnId="{049F81A9-4618-4503-840B-086492298B0B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5574EF47-8287-475D-9CD5-DD05243A519E}">
      <dgm:prSet phldrT="[文本]" custT="1"/>
      <dgm:spPr/>
      <dgm:t>
        <a:bodyPr/>
        <a:lstStyle/>
        <a:p>
          <a:r>
            <a:rPr lang="zh-CN" altLang="en-US" sz="2400" dirty="0">
              <a:latin typeface="微软雅黑" pitchFamily="34" charset="-122"/>
              <a:ea typeface="微软雅黑" pitchFamily="34" charset="-122"/>
            </a:rPr>
            <a:t>看板管理</a:t>
          </a:r>
        </a:p>
      </dgm:t>
    </dgm:pt>
    <dgm:pt modelId="{0E15450E-C49F-41A6-8802-72B7F9F64E04}" type="parTrans" cxnId="{ED20BDA8-5CB7-442A-8C91-85B36EDB5823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06B9337F-CCAF-494B-B47A-92B611CA5A02}" type="sibTrans" cxnId="{ED20BDA8-5CB7-442A-8C91-85B36EDB5823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9A75B520-E8CE-49FE-95C7-F58973CAFBA9}">
      <dgm:prSet phldrT="[文本]" custT="1"/>
      <dgm:spPr/>
      <dgm:t>
        <a:bodyPr/>
        <a:lstStyle/>
        <a:p>
          <a:r>
            <a:rPr lang="zh-CN" altLang="en-US" sz="1600" dirty="0">
              <a:latin typeface="微软雅黑" pitchFamily="34" charset="-122"/>
              <a:ea typeface="微软雅黑" pitchFamily="34" charset="-122"/>
            </a:rPr>
            <a:t>项目进度跟踪，</a:t>
          </a:r>
          <a:r>
            <a:rPr lang="en-US" altLang="zh-CN" sz="1600" dirty="0">
              <a:latin typeface="微软雅黑" pitchFamily="34" charset="-122"/>
              <a:ea typeface="微软雅黑" pitchFamily="34" charset="-122"/>
            </a:rPr>
            <a:t>RD/PM/UE/QA</a:t>
          </a:r>
          <a:r>
            <a:rPr lang="zh-CN" altLang="en-US" sz="1600" dirty="0">
              <a:latin typeface="微软雅黑" pitchFamily="34" charset="-122"/>
              <a:ea typeface="微软雅黑" pitchFamily="34" charset="-122"/>
            </a:rPr>
            <a:t>交流沟通，了解彼此进展和问题。</a:t>
          </a:r>
        </a:p>
      </dgm:t>
    </dgm:pt>
    <dgm:pt modelId="{B172EE41-52C8-4C1D-8BCD-D27E27B0C1BB}" type="parTrans" cxnId="{5BA8E74E-8D6B-4064-8661-0310133DEED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BA5B63B2-8F89-45F7-9A51-D90EDC077C16}" type="sibTrans" cxnId="{5BA8E74E-8D6B-4064-8661-0310133DEED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05EABFE6-EA89-4B70-A719-E4EFFFD3D0B8}">
      <dgm:prSet phldrT="[文本]" custT="1"/>
      <dgm:spPr/>
      <dgm:t>
        <a:bodyPr/>
        <a:lstStyle/>
        <a:p>
          <a:pPr algn="ctr"/>
          <a:r>
            <a:rPr lang="zh-CN" altLang="en-US" sz="2400" dirty="0">
              <a:latin typeface="微软雅黑" pitchFamily="34" charset="-122"/>
              <a:ea typeface="微软雅黑" pitchFamily="34" charset="-122"/>
            </a:rPr>
            <a:t>每日站会</a:t>
          </a:r>
        </a:p>
      </dgm:t>
    </dgm:pt>
    <dgm:pt modelId="{600B15E3-8665-46E1-BF99-EE4321413790}" type="parTrans" cxnId="{5D96AA19-CE2B-4264-A1C5-74470DD15541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096D18AA-B5E9-4D6B-9DF0-9E5549C82F37}" type="sibTrans" cxnId="{5D96AA19-CE2B-4264-A1C5-74470DD15541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E9FD0C0C-4434-4BA7-AC4D-0A97F9BB0D3B}">
      <dgm:prSet custT="1"/>
      <dgm:spPr/>
      <dgm:t>
        <a:bodyPr/>
        <a:lstStyle/>
        <a:p>
          <a:r>
            <a:rPr lang="zh-CN" altLang="en-US" sz="1600" dirty="0">
              <a:latin typeface="微软雅黑" pitchFamily="34" charset="-122"/>
              <a:ea typeface="微软雅黑" pitchFamily="34" charset="-122"/>
            </a:rPr>
            <a:t>状态定义，色区分卡，内容、姓名、角色等标识，燃起图</a:t>
          </a:r>
        </a:p>
      </dgm:t>
    </dgm:pt>
    <dgm:pt modelId="{55C36AFB-13ED-4191-AD6C-D34231BFD329}" type="parTrans" cxnId="{430186F3-62DD-4FAA-8873-386D06978E6F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36827705-AEFE-439A-AD2F-76AF5443D4E9}" type="sibTrans" cxnId="{430186F3-62DD-4FAA-8873-386D06978E6F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702C2123-D310-42FF-91BD-192F89E44163}">
      <dgm:prSet phldrT="[文本]" custT="1"/>
      <dgm:spPr/>
      <dgm:t>
        <a:bodyPr/>
        <a:lstStyle/>
        <a:p>
          <a:r>
            <a:rPr lang="zh-CN" altLang="en-US" sz="1600" dirty="0">
              <a:effectLst/>
              <a:latin typeface="微软雅黑" pitchFamily="34" charset="-122"/>
              <a:ea typeface="微软雅黑" pitchFamily="34" charset="-122"/>
            </a:rPr>
            <a:t>每天</a:t>
          </a:r>
          <a:r>
            <a:rPr lang="en-US" altLang="zh-CN" sz="1600" dirty="0">
              <a:effectLst/>
              <a:latin typeface="微软雅黑" pitchFamily="34" charset="-122"/>
              <a:ea typeface="微软雅黑" pitchFamily="34" charset="-122"/>
            </a:rPr>
            <a:t>15</a:t>
          </a:r>
          <a:r>
            <a:rPr lang="zh-CN" altLang="en-US" sz="1600" dirty="0">
              <a:effectLst/>
              <a:latin typeface="微软雅黑" pitchFamily="34" charset="-122"/>
              <a:ea typeface="微软雅黑" pitchFamily="34" charset="-122"/>
            </a:rPr>
            <a:t>分钟，固定时间 ，同一时间同一地点互相沟通和分享工作 </a:t>
          </a:r>
        </a:p>
      </dgm:t>
    </dgm:pt>
    <dgm:pt modelId="{3153440D-6EC4-4510-88B6-D8CEE99E99E4}" type="parTrans" cxnId="{CAA4C56F-077A-40C0-B61F-B323DEB62A3C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D0EFD5FB-8637-4BF0-BD9B-7C106F725B37}" type="sibTrans" cxnId="{CAA4C56F-077A-40C0-B61F-B323DEB62A3C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BB352A3F-3D25-43E9-AE40-CBF86540AF4A}">
      <dgm:prSet custT="1"/>
      <dgm:spPr/>
      <dgm:t>
        <a:bodyPr/>
        <a:lstStyle/>
        <a:p>
          <a:r>
            <a:rPr lang="zh-CN" altLang="en-US" sz="1600" dirty="0">
              <a:effectLst/>
              <a:latin typeface="微软雅黑" pitchFamily="34" charset="-122"/>
              <a:ea typeface="微软雅黑" pitchFamily="34" charset="-122"/>
            </a:rPr>
            <a:t>分享内容： 昨天做了什么？ 今天会做什么？遇到的困难？ </a:t>
          </a:r>
        </a:p>
      </dgm:t>
    </dgm:pt>
    <dgm:pt modelId="{E966B1F9-ACA2-4CBC-B8E2-5AFD311609A3}" type="parTrans" cxnId="{80C3DAC9-D174-4783-B910-56643D688810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A06F10EF-0123-4CCC-BF72-C36CBBEC1428}" type="sibTrans" cxnId="{80C3DAC9-D174-4783-B910-56643D688810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3B767D90-7C1A-47FD-84D1-FD5392ACCD00}">
      <dgm:prSet phldrT="[文本]" custT="1"/>
      <dgm:spPr/>
      <dgm:t>
        <a:bodyPr/>
        <a:lstStyle/>
        <a:p>
          <a:r>
            <a:rPr lang="zh-CN" altLang="en-US" sz="1600" dirty="0">
              <a:effectLst/>
              <a:latin typeface="微软雅黑" pitchFamily="34" charset="-122"/>
              <a:ea typeface="微软雅黑" pitchFamily="34" charset="-122"/>
            </a:rPr>
            <a:t>迭代前需求排优先级和细化，迭代中每天站会同步进展，迭代后交付。</a:t>
          </a:r>
        </a:p>
      </dgm:t>
    </dgm:pt>
    <dgm:pt modelId="{B5B640E4-8AD2-46D3-97F0-FECA3D783F01}" type="parTrans" cxnId="{9601208D-B3E9-4C9F-A158-4C866DF9AE25}">
      <dgm:prSet/>
      <dgm:spPr/>
      <dgm:t>
        <a:bodyPr/>
        <a:lstStyle/>
        <a:p>
          <a:endParaRPr lang="zh-CN" altLang="en-US" sz="1200"/>
        </a:p>
      </dgm:t>
    </dgm:pt>
    <dgm:pt modelId="{3171DD70-19D2-4B6A-B39B-E3A25380C103}" type="sibTrans" cxnId="{9601208D-B3E9-4C9F-A158-4C866DF9AE25}">
      <dgm:prSet/>
      <dgm:spPr/>
      <dgm:t>
        <a:bodyPr/>
        <a:lstStyle/>
        <a:p>
          <a:endParaRPr lang="zh-CN" altLang="en-US" sz="1200"/>
        </a:p>
      </dgm:t>
    </dgm:pt>
    <dgm:pt modelId="{77257E66-BE33-4353-894D-E7E6E91040C8}">
      <dgm:prSet phldrT="[文本]" custT="1"/>
      <dgm:spPr/>
      <dgm:t>
        <a:bodyPr/>
        <a:lstStyle/>
        <a:p>
          <a:r>
            <a:rPr lang="zh-CN" altLang="en-US" sz="1600" dirty="0">
              <a:latin typeface="微软雅黑" pitchFamily="34" charset="-122"/>
              <a:ea typeface="微软雅黑" pitchFamily="34" charset="-122"/>
            </a:rPr>
            <a:t>每日自动构建和发布</a:t>
          </a:r>
        </a:p>
      </dgm:t>
    </dgm:pt>
    <dgm:pt modelId="{C655E317-C97F-48F2-ACA4-C6F2220C25E6}" type="parTrans" cxnId="{791EDA73-D584-4314-9CBE-AA18545AF134}">
      <dgm:prSet/>
      <dgm:spPr/>
      <dgm:t>
        <a:bodyPr/>
        <a:lstStyle/>
        <a:p>
          <a:endParaRPr lang="zh-CN" altLang="en-US" sz="1200"/>
        </a:p>
      </dgm:t>
    </dgm:pt>
    <dgm:pt modelId="{369AEB82-23AC-43D0-A8F9-0A6790FEEA7D}" type="sibTrans" cxnId="{791EDA73-D584-4314-9CBE-AA18545AF134}">
      <dgm:prSet/>
      <dgm:spPr/>
      <dgm:t>
        <a:bodyPr/>
        <a:lstStyle/>
        <a:p>
          <a:endParaRPr lang="zh-CN" altLang="en-US" sz="1200"/>
        </a:p>
      </dgm:t>
    </dgm:pt>
    <dgm:pt modelId="{C6B0187D-92CD-4C6A-A0FB-FE69AB4B175F}" type="pres">
      <dgm:prSet presAssocID="{C35A22B3-DD60-4E62-9DB2-61B209DF4B29}" presName="Name0" presStyleCnt="0">
        <dgm:presLayoutVars>
          <dgm:dir/>
          <dgm:animLvl val="lvl"/>
          <dgm:resizeHandles val="exact"/>
        </dgm:presLayoutVars>
      </dgm:prSet>
      <dgm:spPr/>
    </dgm:pt>
    <dgm:pt modelId="{F9E4F932-DA91-4F38-BE05-BEC0B64FA7C3}" type="pres">
      <dgm:prSet presAssocID="{9B4C9C90-F545-4895-928B-D14AC33D24D8}" presName="linNode" presStyleCnt="0"/>
      <dgm:spPr/>
    </dgm:pt>
    <dgm:pt modelId="{71AEB072-B1CA-4061-97E7-AECEFB22E540}" type="pres">
      <dgm:prSet presAssocID="{9B4C9C90-F545-4895-928B-D14AC33D24D8}" presName="parentText" presStyleLbl="node1" presStyleIdx="0" presStyleCnt="4" custScaleX="57831">
        <dgm:presLayoutVars>
          <dgm:chMax val="1"/>
          <dgm:bulletEnabled val="1"/>
        </dgm:presLayoutVars>
      </dgm:prSet>
      <dgm:spPr/>
    </dgm:pt>
    <dgm:pt modelId="{BCDC186F-ECF3-46B2-A9D7-6B4C4972B03E}" type="pres">
      <dgm:prSet presAssocID="{9B4C9C90-F545-4895-928B-D14AC33D24D8}" presName="descendantText" presStyleLbl="alignAccFollowNode1" presStyleIdx="0" presStyleCnt="4" custScaleX="115413" custScaleY="108204">
        <dgm:presLayoutVars>
          <dgm:bulletEnabled val="1"/>
        </dgm:presLayoutVars>
      </dgm:prSet>
      <dgm:spPr/>
    </dgm:pt>
    <dgm:pt modelId="{D7CF031D-8D6C-4322-85F2-D52BE6DD956E}" type="pres">
      <dgm:prSet presAssocID="{32C17D04-73D6-4133-9FCE-7517FB156B95}" presName="sp" presStyleCnt="0"/>
      <dgm:spPr/>
    </dgm:pt>
    <dgm:pt modelId="{99681AB2-F6BF-44AD-AA8D-0882B2353EBB}" type="pres">
      <dgm:prSet presAssocID="{1D5E9E3B-2F60-411D-A37D-75E8017652BF}" presName="linNode" presStyleCnt="0"/>
      <dgm:spPr/>
    </dgm:pt>
    <dgm:pt modelId="{167DF626-CD93-45C4-8129-F5EB840C8D61}" type="pres">
      <dgm:prSet presAssocID="{1D5E9E3B-2F60-411D-A37D-75E8017652BF}" presName="parentText" presStyleLbl="node1" presStyleIdx="1" presStyleCnt="4" custScaleX="57871">
        <dgm:presLayoutVars>
          <dgm:chMax val="1"/>
          <dgm:bulletEnabled val="1"/>
        </dgm:presLayoutVars>
      </dgm:prSet>
      <dgm:spPr/>
    </dgm:pt>
    <dgm:pt modelId="{6B133A37-417D-432C-9F6F-CC4E91F3A802}" type="pres">
      <dgm:prSet presAssocID="{1D5E9E3B-2F60-411D-A37D-75E8017652BF}" presName="descendantText" presStyleLbl="alignAccFollowNode1" presStyleIdx="1" presStyleCnt="4" custScaleX="115094">
        <dgm:presLayoutVars>
          <dgm:bulletEnabled val="1"/>
        </dgm:presLayoutVars>
      </dgm:prSet>
      <dgm:spPr/>
    </dgm:pt>
    <dgm:pt modelId="{566FA6FA-E511-4954-8E7F-F6F4C9AB8CE9}" type="pres">
      <dgm:prSet presAssocID="{7A22CB96-FC0C-4527-9A04-158011349038}" presName="sp" presStyleCnt="0"/>
      <dgm:spPr/>
    </dgm:pt>
    <dgm:pt modelId="{0F78AFC9-FEBB-438B-960E-D8DB1C1C4EB1}" type="pres">
      <dgm:prSet presAssocID="{5574EF47-8287-475D-9CD5-DD05243A519E}" presName="linNode" presStyleCnt="0"/>
      <dgm:spPr/>
    </dgm:pt>
    <dgm:pt modelId="{E96EEE1E-5B6A-4B8C-AF56-78E97A561E87}" type="pres">
      <dgm:prSet presAssocID="{5574EF47-8287-475D-9CD5-DD05243A519E}" presName="parentText" presStyleLbl="node1" presStyleIdx="2" presStyleCnt="4" custScaleX="57863">
        <dgm:presLayoutVars>
          <dgm:chMax val="1"/>
          <dgm:bulletEnabled val="1"/>
        </dgm:presLayoutVars>
      </dgm:prSet>
      <dgm:spPr/>
    </dgm:pt>
    <dgm:pt modelId="{EEB38571-BFDD-4663-AA88-41D8C25F17F9}" type="pres">
      <dgm:prSet presAssocID="{5574EF47-8287-475D-9CD5-DD05243A519E}" presName="descendantText" presStyleLbl="alignAccFollowNode1" presStyleIdx="2" presStyleCnt="4" custScaleX="115098">
        <dgm:presLayoutVars>
          <dgm:bulletEnabled val="1"/>
        </dgm:presLayoutVars>
      </dgm:prSet>
      <dgm:spPr/>
    </dgm:pt>
    <dgm:pt modelId="{2B305426-856D-4494-9E45-B8EC345D8004}" type="pres">
      <dgm:prSet presAssocID="{06B9337F-CCAF-494B-B47A-92B611CA5A02}" presName="sp" presStyleCnt="0"/>
      <dgm:spPr/>
    </dgm:pt>
    <dgm:pt modelId="{E68E772B-6A57-4B12-B568-8CC1664B875D}" type="pres">
      <dgm:prSet presAssocID="{05EABFE6-EA89-4B70-A719-E4EFFFD3D0B8}" presName="linNode" presStyleCnt="0"/>
      <dgm:spPr/>
    </dgm:pt>
    <dgm:pt modelId="{E759C99A-C793-4E25-9A73-A185ACD8E53A}" type="pres">
      <dgm:prSet presAssocID="{05EABFE6-EA89-4B70-A719-E4EFFFD3D0B8}" presName="parentText" presStyleLbl="node1" presStyleIdx="3" presStyleCnt="4" custScaleX="59966">
        <dgm:presLayoutVars>
          <dgm:chMax val="1"/>
          <dgm:bulletEnabled val="1"/>
        </dgm:presLayoutVars>
      </dgm:prSet>
      <dgm:spPr/>
    </dgm:pt>
    <dgm:pt modelId="{080013E8-D769-4342-B664-71FB5473923D}" type="pres">
      <dgm:prSet presAssocID="{05EABFE6-EA89-4B70-A719-E4EFFFD3D0B8}" presName="descendantText" presStyleLbl="alignAccFollowNode1" presStyleIdx="3" presStyleCnt="4" custScaleX="116035">
        <dgm:presLayoutVars>
          <dgm:bulletEnabled val="1"/>
        </dgm:presLayoutVars>
      </dgm:prSet>
      <dgm:spPr/>
    </dgm:pt>
  </dgm:ptLst>
  <dgm:cxnLst>
    <dgm:cxn modelId="{5D96AA19-CE2B-4264-A1C5-74470DD15541}" srcId="{C35A22B3-DD60-4E62-9DB2-61B209DF4B29}" destId="{05EABFE6-EA89-4B70-A719-E4EFFFD3D0B8}" srcOrd="3" destOrd="0" parTransId="{600B15E3-8665-46E1-BF99-EE4321413790}" sibTransId="{096D18AA-B5E9-4D6B-9DF0-9E5549C82F37}"/>
    <dgm:cxn modelId="{E5CEC326-DA90-47AC-A5A2-C4C409E7C0E4}" type="presOf" srcId="{55947FE6-5FEB-41CA-A0C5-A44EFFD48489}" destId="{6B133A37-417D-432C-9F6F-CC4E91F3A802}" srcOrd="0" destOrd="0" presId="urn:microsoft.com/office/officeart/2005/8/layout/vList5"/>
    <dgm:cxn modelId="{4236152B-5142-45EF-A803-FF8089E804D5}" srcId="{9B4C9C90-F545-4895-928B-D14AC33D24D8}" destId="{70DC3303-D72D-4A00-98AB-F297B729F101}" srcOrd="0" destOrd="0" parTransId="{2F2B4F67-B83D-4669-AFF0-6EAEEC21043A}" sibTransId="{760604E7-F590-4A2E-B0B5-0D29F8DDF0B3}"/>
    <dgm:cxn modelId="{6C766631-FB18-4CEE-B188-C9B687933518}" srcId="{C35A22B3-DD60-4E62-9DB2-61B209DF4B29}" destId="{1D5E9E3B-2F60-411D-A37D-75E8017652BF}" srcOrd="1" destOrd="0" parTransId="{636992A8-7777-490B-969F-8D2131DC335B}" sibTransId="{7A22CB96-FC0C-4527-9A04-158011349038}"/>
    <dgm:cxn modelId="{5F4A9038-943B-47FA-B899-1E9B5F9FFED5}" type="presOf" srcId="{9B4C9C90-F545-4895-928B-D14AC33D24D8}" destId="{71AEB072-B1CA-4061-97E7-AECEFB22E540}" srcOrd="0" destOrd="0" presId="urn:microsoft.com/office/officeart/2005/8/layout/vList5"/>
    <dgm:cxn modelId="{B1B4123B-F311-444C-B6EE-237F3ED7D906}" type="presOf" srcId="{702C2123-D310-42FF-91BD-192F89E44163}" destId="{080013E8-D769-4342-B664-71FB5473923D}" srcOrd="0" destOrd="0" presId="urn:microsoft.com/office/officeart/2005/8/layout/vList5"/>
    <dgm:cxn modelId="{393B7C42-CDDD-4EDF-9BEF-4327E43122B4}" type="presOf" srcId="{C35A22B3-DD60-4E62-9DB2-61B209DF4B29}" destId="{C6B0187D-92CD-4C6A-A0FB-FE69AB4B175F}" srcOrd="0" destOrd="0" presId="urn:microsoft.com/office/officeart/2005/8/layout/vList5"/>
    <dgm:cxn modelId="{D02A7344-47B2-4D58-A69D-A1FB6F8A7A48}" type="presOf" srcId="{5574EF47-8287-475D-9CD5-DD05243A519E}" destId="{E96EEE1E-5B6A-4B8C-AF56-78E97A561E87}" srcOrd="0" destOrd="0" presId="urn:microsoft.com/office/officeart/2005/8/layout/vList5"/>
    <dgm:cxn modelId="{8A62914B-3DB3-4057-B58F-454479F1E722}" type="presOf" srcId="{3B767D90-7C1A-47FD-84D1-FD5392ACCD00}" destId="{BCDC186F-ECF3-46B2-A9D7-6B4C4972B03E}" srcOrd="0" destOrd="1" presId="urn:microsoft.com/office/officeart/2005/8/layout/vList5"/>
    <dgm:cxn modelId="{5BA8E74E-8D6B-4064-8661-0310133DEED5}" srcId="{5574EF47-8287-475D-9CD5-DD05243A519E}" destId="{9A75B520-E8CE-49FE-95C7-F58973CAFBA9}" srcOrd="0" destOrd="0" parTransId="{B172EE41-52C8-4C1D-8BCD-D27E27B0C1BB}" sibTransId="{BA5B63B2-8F89-45F7-9A51-D90EDC077C16}"/>
    <dgm:cxn modelId="{4526D856-174C-485B-9878-7F2B18AB84D6}" type="presOf" srcId="{1D5E9E3B-2F60-411D-A37D-75E8017652BF}" destId="{167DF626-CD93-45C4-8129-F5EB840C8D61}" srcOrd="0" destOrd="0" presId="urn:microsoft.com/office/officeart/2005/8/layout/vList5"/>
    <dgm:cxn modelId="{23E9EF58-E494-42BE-BD58-74BF04ADC4F2}" type="presOf" srcId="{77257E66-BE33-4353-894D-E7E6E91040C8}" destId="{6B133A37-417D-432C-9F6F-CC4E91F3A802}" srcOrd="0" destOrd="1" presId="urn:microsoft.com/office/officeart/2005/8/layout/vList5"/>
    <dgm:cxn modelId="{CAA4C56F-077A-40C0-B61F-B323DEB62A3C}" srcId="{05EABFE6-EA89-4B70-A719-E4EFFFD3D0B8}" destId="{702C2123-D310-42FF-91BD-192F89E44163}" srcOrd="0" destOrd="0" parTransId="{3153440D-6EC4-4510-88B6-D8CEE99E99E4}" sibTransId="{D0EFD5FB-8637-4BF0-BD9B-7C106F725B37}"/>
    <dgm:cxn modelId="{791EDA73-D584-4314-9CBE-AA18545AF134}" srcId="{1D5E9E3B-2F60-411D-A37D-75E8017652BF}" destId="{77257E66-BE33-4353-894D-E7E6E91040C8}" srcOrd="1" destOrd="0" parTransId="{C655E317-C97F-48F2-ACA4-C6F2220C25E6}" sibTransId="{369AEB82-23AC-43D0-A8F9-0A6790FEEA7D}"/>
    <dgm:cxn modelId="{9601208D-B3E9-4C9F-A158-4C866DF9AE25}" srcId="{9B4C9C90-F545-4895-928B-D14AC33D24D8}" destId="{3B767D90-7C1A-47FD-84D1-FD5392ACCD00}" srcOrd="1" destOrd="0" parTransId="{B5B640E4-8AD2-46D3-97F0-FECA3D783F01}" sibTransId="{3171DD70-19D2-4B6A-B39B-E3A25380C103}"/>
    <dgm:cxn modelId="{8F7AD79F-4FBA-4B47-BA6F-065364EC2733}" type="presOf" srcId="{70DC3303-D72D-4A00-98AB-F297B729F101}" destId="{BCDC186F-ECF3-46B2-A9D7-6B4C4972B03E}" srcOrd="0" destOrd="0" presId="urn:microsoft.com/office/officeart/2005/8/layout/vList5"/>
    <dgm:cxn modelId="{ED20BDA8-5CB7-442A-8C91-85B36EDB5823}" srcId="{C35A22B3-DD60-4E62-9DB2-61B209DF4B29}" destId="{5574EF47-8287-475D-9CD5-DD05243A519E}" srcOrd="2" destOrd="0" parTransId="{0E15450E-C49F-41A6-8802-72B7F9F64E04}" sibTransId="{06B9337F-CCAF-494B-B47A-92B611CA5A02}"/>
    <dgm:cxn modelId="{049F81A9-4618-4503-840B-086492298B0B}" srcId="{1D5E9E3B-2F60-411D-A37D-75E8017652BF}" destId="{55947FE6-5FEB-41CA-A0C5-A44EFFD48489}" srcOrd="0" destOrd="0" parTransId="{050A28D8-74EF-49B4-9F42-4D99B7055340}" sibTransId="{B9A99D90-CDFD-49BF-81F2-F3DC27713D2D}"/>
    <dgm:cxn modelId="{602C55AE-A6B2-4ED8-A0D6-AB9E039AFAFF}" srcId="{C35A22B3-DD60-4E62-9DB2-61B209DF4B29}" destId="{9B4C9C90-F545-4895-928B-D14AC33D24D8}" srcOrd="0" destOrd="0" parTransId="{1A294F8E-CA1D-496F-9EF2-707D49B22F0C}" sibTransId="{32C17D04-73D6-4133-9FCE-7517FB156B95}"/>
    <dgm:cxn modelId="{235EA8AF-7BE7-43E8-9DA9-DD45DC9974BC}" type="presOf" srcId="{BB352A3F-3D25-43E9-AE40-CBF86540AF4A}" destId="{080013E8-D769-4342-B664-71FB5473923D}" srcOrd="0" destOrd="1" presId="urn:microsoft.com/office/officeart/2005/8/layout/vList5"/>
    <dgm:cxn modelId="{80C3DAC9-D174-4783-B910-56643D688810}" srcId="{05EABFE6-EA89-4B70-A719-E4EFFFD3D0B8}" destId="{BB352A3F-3D25-43E9-AE40-CBF86540AF4A}" srcOrd="1" destOrd="0" parTransId="{E966B1F9-ACA2-4CBC-B8E2-5AFD311609A3}" sibTransId="{A06F10EF-0123-4CCC-BF72-C36CBBEC1428}"/>
    <dgm:cxn modelId="{AFD745D5-AD2B-41B9-BCBC-B695F150254F}" type="presOf" srcId="{9A75B520-E8CE-49FE-95C7-F58973CAFBA9}" destId="{EEB38571-BFDD-4663-AA88-41D8C25F17F9}" srcOrd="0" destOrd="0" presId="urn:microsoft.com/office/officeart/2005/8/layout/vList5"/>
    <dgm:cxn modelId="{BF6FF7DD-081C-47CB-B21D-9C6CCF4846DF}" type="presOf" srcId="{E9FD0C0C-4434-4BA7-AC4D-0A97F9BB0D3B}" destId="{EEB38571-BFDD-4663-AA88-41D8C25F17F9}" srcOrd="0" destOrd="1" presId="urn:microsoft.com/office/officeart/2005/8/layout/vList5"/>
    <dgm:cxn modelId="{9FFC3CF1-C190-4043-8655-70235D8228B1}" type="presOf" srcId="{05EABFE6-EA89-4B70-A719-E4EFFFD3D0B8}" destId="{E759C99A-C793-4E25-9A73-A185ACD8E53A}" srcOrd="0" destOrd="0" presId="urn:microsoft.com/office/officeart/2005/8/layout/vList5"/>
    <dgm:cxn modelId="{430186F3-62DD-4FAA-8873-386D06978E6F}" srcId="{5574EF47-8287-475D-9CD5-DD05243A519E}" destId="{E9FD0C0C-4434-4BA7-AC4D-0A97F9BB0D3B}" srcOrd="1" destOrd="0" parTransId="{55C36AFB-13ED-4191-AD6C-D34231BFD329}" sibTransId="{36827705-AEFE-439A-AD2F-76AF5443D4E9}"/>
    <dgm:cxn modelId="{FD0E019C-9BDB-40CA-9BB2-E6877D2D7664}" type="presParOf" srcId="{C6B0187D-92CD-4C6A-A0FB-FE69AB4B175F}" destId="{F9E4F932-DA91-4F38-BE05-BEC0B64FA7C3}" srcOrd="0" destOrd="0" presId="urn:microsoft.com/office/officeart/2005/8/layout/vList5"/>
    <dgm:cxn modelId="{8AABE9F2-4573-48ED-8A5F-00382F30A35A}" type="presParOf" srcId="{F9E4F932-DA91-4F38-BE05-BEC0B64FA7C3}" destId="{71AEB072-B1CA-4061-97E7-AECEFB22E540}" srcOrd="0" destOrd="0" presId="urn:microsoft.com/office/officeart/2005/8/layout/vList5"/>
    <dgm:cxn modelId="{6CEABF78-FCE8-4D2B-8948-682BA8EC2C35}" type="presParOf" srcId="{F9E4F932-DA91-4F38-BE05-BEC0B64FA7C3}" destId="{BCDC186F-ECF3-46B2-A9D7-6B4C4972B03E}" srcOrd="1" destOrd="0" presId="urn:microsoft.com/office/officeart/2005/8/layout/vList5"/>
    <dgm:cxn modelId="{2FE53DC4-1A7B-407B-976A-473C079C7711}" type="presParOf" srcId="{C6B0187D-92CD-4C6A-A0FB-FE69AB4B175F}" destId="{D7CF031D-8D6C-4322-85F2-D52BE6DD956E}" srcOrd="1" destOrd="0" presId="urn:microsoft.com/office/officeart/2005/8/layout/vList5"/>
    <dgm:cxn modelId="{3370F329-2D1F-4CA6-961B-B388E7D36D35}" type="presParOf" srcId="{C6B0187D-92CD-4C6A-A0FB-FE69AB4B175F}" destId="{99681AB2-F6BF-44AD-AA8D-0882B2353EBB}" srcOrd="2" destOrd="0" presId="urn:microsoft.com/office/officeart/2005/8/layout/vList5"/>
    <dgm:cxn modelId="{DA6AB410-3B8F-4101-94EF-15273D16D717}" type="presParOf" srcId="{99681AB2-F6BF-44AD-AA8D-0882B2353EBB}" destId="{167DF626-CD93-45C4-8129-F5EB840C8D61}" srcOrd="0" destOrd="0" presId="urn:microsoft.com/office/officeart/2005/8/layout/vList5"/>
    <dgm:cxn modelId="{FB4C03D8-977A-44B0-9E37-8F5D2E85CACC}" type="presParOf" srcId="{99681AB2-F6BF-44AD-AA8D-0882B2353EBB}" destId="{6B133A37-417D-432C-9F6F-CC4E91F3A802}" srcOrd="1" destOrd="0" presId="urn:microsoft.com/office/officeart/2005/8/layout/vList5"/>
    <dgm:cxn modelId="{092AC784-B2EB-410F-910B-B8A2C0CF94DD}" type="presParOf" srcId="{C6B0187D-92CD-4C6A-A0FB-FE69AB4B175F}" destId="{566FA6FA-E511-4954-8E7F-F6F4C9AB8CE9}" srcOrd="3" destOrd="0" presId="urn:microsoft.com/office/officeart/2005/8/layout/vList5"/>
    <dgm:cxn modelId="{A4CB6F12-E64B-4718-A334-73116A600123}" type="presParOf" srcId="{C6B0187D-92CD-4C6A-A0FB-FE69AB4B175F}" destId="{0F78AFC9-FEBB-438B-960E-D8DB1C1C4EB1}" srcOrd="4" destOrd="0" presId="urn:microsoft.com/office/officeart/2005/8/layout/vList5"/>
    <dgm:cxn modelId="{EAD49FAC-DA7D-4765-A86F-58FC0899009B}" type="presParOf" srcId="{0F78AFC9-FEBB-438B-960E-D8DB1C1C4EB1}" destId="{E96EEE1E-5B6A-4B8C-AF56-78E97A561E87}" srcOrd="0" destOrd="0" presId="urn:microsoft.com/office/officeart/2005/8/layout/vList5"/>
    <dgm:cxn modelId="{7F00AAFD-3620-4AE7-829A-CA21B8EC99AC}" type="presParOf" srcId="{0F78AFC9-FEBB-438B-960E-D8DB1C1C4EB1}" destId="{EEB38571-BFDD-4663-AA88-41D8C25F17F9}" srcOrd="1" destOrd="0" presId="urn:microsoft.com/office/officeart/2005/8/layout/vList5"/>
    <dgm:cxn modelId="{A15DD758-188F-4404-BAB7-EE13B7C5B1A3}" type="presParOf" srcId="{C6B0187D-92CD-4C6A-A0FB-FE69AB4B175F}" destId="{2B305426-856D-4494-9E45-B8EC345D8004}" srcOrd="5" destOrd="0" presId="urn:microsoft.com/office/officeart/2005/8/layout/vList5"/>
    <dgm:cxn modelId="{052220E0-3067-4480-B593-34974523C5F3}" type="presParOf" srcId="{C6B0187D-92CD-4C6A-A0FB-FE69AB4B175F}" destId="{E68E772B-6A57-4B12-B568-8CC1664B875D}" srcOrd="6" destOrd="0" presId="urn:microsoft.com/office/officeart/2005/8/layout/vList5"/>
    <dgm:cxn modelId="{3ABDA8CB-5C60-453D-B910-1699023EDD6C}" type="presParOf" srcId="{E68E772B-6A57-4B12-B568-8CC1664B875D}" destId="{E759C99A-C793-4E25-9A73-A185ACD8E53A}" srcOrd="0" destOrd="0" presId="urn:microsoft.com/office/officeart/2005/8/layout/vList5"/>
    <dgm:cxn modelId="{A5DA8D4C-2AB1-4E6D-8932-2EB0FC75B45B}" type="presParOf" srcId="{E68E772B-6A57-4B12-B568-8CC1664B875D}" destId="{080013E8-D769-4342-B664-71FB5473923D}" srcOrd="1" destOrd="0" presId="urn:microsoft.com/office/officeart/2005/8/layout/vList5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1619D1F-084F-0C4B-8873-4F91AFECCE2C}" type="doc">
      <dgm:prSet loTypeId="urn:microsoft.com/office/officeart/2005/8/layout/hierarchy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0CBA2C9-01D1-9D4B-B8DC-488824CE961D}">
      <dgm:prSet phldrT="[文本]"/>
      <dgm:spPr/>
      <dgm:t>
        <a:bodyPr/>
        <a:lstStyle/>
        <a:p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Epic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C18E361-C823-684F-9091-DA337E85DE2A}" type="parTrans" cxnId="{5EF6ED57-2023-FA40-9201-3FB33CFCD0DF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D2102A65-EF3E-8849-B4F2-826444DDA64D}" type="sibTrans" cxnId="{5EF6ED57-2023-FA40-9201-3FB33CFCD0DF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97AFE9C-998E-D84D-BD84-E9BBF63D4DF7}">
      <dgm:prSet phldrT="[文本]"/>
      <dgm:spPr/>
      <dgm:t>
        <a:bodyPr/>
        <a:lstStyle/>
        <a:p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Feature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8B5BC82-57A3-AD40-845A-25149343745F}" type="parTrans" cxnId="{20FBE5EF-A844-9F41-98C3-224253FDFC31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D7558A1-7005-0A48-B7FB-2B929F131B67}" type="sibTrans" cxnId="{20FBE5EF-A844-9F41-98C3-224253FDFC31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DC2C7614-79C1-3748-B6E5-808A70471F99}">
      <dgm:prSet phldrT="[文本]"/>
      <dgm:spPr/>
      <dgm:t>
        <a:bodyPr/>
        <a:lstStyle/>
        <a:p>
          <a:r>
            <a: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rPr>
            <a:t>S</a:t>
          </a:r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ory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774DC50-D877-5D43-BBE9-6A13BE782440}" type="parTrans" cxnId="{466CC35A-EDDD-6446-BCD8-A49A9F27FACC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80EDE04-51B2-DA42-B5D0-6CBAC04C5058}" type="sibTrans" cxnId="{466CC35A-EDDD-6446-BCD8-A49A9F27FACC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CD55776-20B7-7C4C-9260-54F95F0F7ED9}">
      <dgm:prSet phldrT="[文本]"/>
      <dgm:spPr/>
      <dgm:t>
        <a:bodyPr/>
        <a:lstStyle/>
        <a:p>
          <a:r>
            <a: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rPr>
            <a:t>S</a:t>
          </a:r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ory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9B671BF0-FD21-8E4D-B7EA-95A0CD75E901}" type="parTrans" cxnId="{2C060055-D2A1-CB40-A2BB-BD20030598D0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276430E-CE88-2C46-83FB-A7C179DA49E7}" type="sibTrans" cxnId="{2C060055-D2A1-CB40-A2BB-BD20030598D0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2B10FBF-6C9E-6B4D-9537-7E058700B0DF}">
      <dgm:prSet phldrT="[文本]"/>
      <dgm:spPr/>
      <dgm:t>
        <a:bodyPr/>
        <a:lstStyle/>
        <a:p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ech</a:t>
          </a:r>
          <a:r>
            <a:rPr lang="zh-Hans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 </a:t>
          </a:r>
          <a:r>
            <a: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rPr>
            <a:t>F</a:t>
          </a:r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eature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0B570DA-92A7-5B40-BD7D-44C266E00598}" type="parTrans" cxnId="{3EE3AA8F-4223-4F43-A13A-C468DD649403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6274777-254A-2442-BCDF-291B53C1508F}" type="sibTrans" cxnId="{3EE3AA8F-4223-4F43-A13A-C468DD649403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101DB18-83C1-054E-B16B-E8CD819C1293}">
      <dgm:prSet phldrT="[文本]"/>
      <dgm:spPr/>
      <dgm:t>
        <a:bodyPr/>
        <a:lstStyle/>
        <a:p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ech</a:t>
          </a:r>
          <a:r>
            <a:rPr lang="zh-Hans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 </a:t>
          </a:r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2899965F-F416-614B-A2C8-55BE71E5AB68}" type="parTrans" cxnId="{456A2AE6-3369-8A41-85DC-76B56EAE0E96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E9184F3-8079-3941-84A1-8D1EB180F1D7}" type="sibTrans" cxnId="{456A2AE6-3369-8A41-85DC-76B56EAE0E96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DAF7AE2E-29FC-944B-8EB2-432AF37B1E04}">
      <dgm:prSet phldrT="[文本]"/>
      <dgm:spPr/>
      <dgm:t>
        <a:bodyPr/>
        <a:lstStyle/>
        <a:p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AF8F5EB-CC8E-2348-BB61-750D66276C2B}" type="parTrans" cxnId="{C1BA204E-B687-D841-8906-2E71ACB24C48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C28A0BE-E967-0E4E-BBE4-15BCF72F009E}" type="sibTrans" cxnId="{C1BA204E-B687-D841-8906-2E71ACB24C48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75089D4-034E-7A46-9C37-5CB328C781AE}">
      <dgm:prSet phldrT="[文本]"/>
      <dgm:spPr/>
      <dgm:t>
        <a:bodyPr/>
        <a:lstStyle/>
        <a:p>
          <a:r>
            <a:rPr lang="en-US" altLang="zh-Hans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E1277071-7B5E-E449-AA21-84B9CCBDADBE}" type="parTrans" cxnId="{CE6A2699-05AA-4848-AECA-089DE2F3405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A794400-FD70-F24F-8FFC-57C7624FB5DC}" type="sibTrans" cxnId="{CE6A2699-05AA-4848-AECA-089DE2F3405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4C215A0-22F5-EB41-AB61-859F62440350}">
      <dgm:prSet phldrT="[文本]"/>
      <dgm:spPr/>
      <dgm:t>
        <a:bodyPr/>
        <a:lstStyle/>
        <a:p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ech</a:t>
          </a:r>
          <a:r>
            <a:rPr lang="zh-Hans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 </a:t>
          </a:r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DC72BD3E-0158-FB4E-B712-B46F740AFB52}" type="parTrans" cxnId="{3CAA9C48-AC84-6F48-938A-D1ACEC05F166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E8F92C9D-F0B5-6942-B057-3CA9371764F5}" type="sibTrans" cxnId="{3CAA9C48-AC84-6F48-938A-D1ACEC05F166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6F48F30-D040-C44B-968A-40B43FD5F852}">
      <dgm:prSet phldrT="[文本]"/>
      <dgm:spPr/>
      <dgm:t>
        <a:bodyPr/>
        <a:lstStyle/>
        <a:p>
          <a:r>
            <a:rPr lang="en-US" altLang="zh-Hans" dirty="0">
              <a:latin typeface="Microsoft YaHei" panose="020B0503020204020204" pitchFamily="34" charset="-122"/>
              <a:ea typeface="Microsoft YaHei" panose="020B0503020204020204" pitchFamily="34" charset="-122"/>
            </a:rPr>
            <a:t>Bug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F913867-4743-584C-9394-3DC729E751BD}" type="parTrans" cxnId="{EC2E683B-1615-8B4B-9C04-7A3630E9A97C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2CA9B144-F793-684E-9421-A64D24B3DEA6}" type="sibTrans" cxnId="{EC2E683B-1615-8B4B-9C04-7A3630E9A97C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E2A4F380-81FF-AC48-A4F0-BF45DE3B8DC9}" type="pres">
      <dgm:prSet presAssocID="{F1619D1F-084F-0C4B-8873-4F91AFECCE2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F9513E9-F6F1-174B-9C92-5F4E6F41A096}" type="pres">
      <dgm:prSet presAssocID="{90CBA2C9-01D1-9D4B-B8DC-488824CE961D}" presName="root1" presStyleCnt="0"/>
      <dgm:spPr/>
    </dgm:pt>
    <dgm:pt modelId="{6C5FFA5A-70BF-4942-BDDB-EE01271FAE70}" type="pres">
      <dgm:prSet presAssocID="{90CBA2C9-01D1-9D4B-B8DC-488824CE961D}" presName="LevelOneTextNode" presStyleLbl="node0" presStyleIdx="0" presStyleCnt="2">
        <dgm:presLayoutVars>
          <dgm:chPref val="3"/>
        </dgm:presLayoutVars>
      </dgm:prSet>
      <dgm:spPr/>
    </dgm:pt>
    <dgm:pt modelId="{813E32EF-E1DB-D148-AFB6-3F6EDAE3E550}" type="pres">
      <dgm:prSet presAssocID="{90CBA2C9-01D1-9D4B-B8DC-488824CE961D}" presName="level2hierChild" presStyleCnt="0"/>
      <dgm:spPr/>
    </dgm:pt>
    <dgm:pt modelId="{7C0819C2-8256-F442-B22A-FC5EC0372F14}" type="pres">
      <dgm:prSet presAssocID="{48B5BC82-57A3-AD40-845A-25149343745F}" presName="conn2-1" presStyleLbl="parChTrans1D2" presStyleIdx="0" presStyleCnt="2"/>
      <dgm:spPr/>
    </dgm:pt>
    <dgm:pt modelId="{A169CF7E-C67D-994D-B92C-7C596655860B}" type="pres">
      <dgm:prSet presAssocID="{48B5BC82-57A3-AD40-845A-25149343745F}" presName="connTx" presStyleLbl="parChTrans1D2" presStyleIdx="0" presStyleCnt="2"/>
      <dgm:spPr/>
    </dgm:pt>
    <dgm:pt modelId="{121BD799-926D-8C43-B249-7924787DA01A}" type="pres">
      <dgm:prSet presAssocID="{797AFE9C-998E-D84D-BD84-E9BBF63D4DF7}" presName="root2" presStyleCnt="0"/>
      <dgm:spPr/>
    </dgm:pt>
    <dgm:pt modelId="{71374535-BFEF-474F-A4DD-23B92F76F411}" type="pres">
      <dgm:prSet presAssocID="{797AFE9C-998E-D84D-BD84-E9BBF63D4DF7}" presName="LevelTwoTextNode" presStyleLbl="node2" presStyleIdx="0" presStyleCnt="2" custScaleX="127842">
        <dgm:presLayoutVars>
          <dgm:chPref val="3"/>
        </dgm:presLayoutVars>
      </dgm:prSet>
      <dgm:spPr/>
    </dgm:pt>
    <dgm:pt modelId="{F1BA49CD-5132-7345-9978-2D434CBA6DDA}" type="pres">
      <dgm:prSet presAssocID="{797AFE9C-998E-D84D-BD84-E9BBF63D4DF7}" presName="level3hierChild" presStyleCnt="0"/>
      <dgm:spPr/>
    </dgm:pt>
    <dgm:pt modelId="{F2AB43C2-71CD-9B48-B1F5-06D9982A1E0A}" type="pres">
      <dgm:prSet presAssocID="{7774DC50-D877-5D43-BBE9-6A13BE782440}" presName="conn2-1" presStyleLbl="parChTrans1D3" presStyleIdx="0" presStyleCnt="4"/>
      <dgm:spPr/>
    </dgm:pt>
    <dgm:pt modelId="{F10AC0AC-2779-924C-9053-0771213E77B4}" type="pres">
      <dgm:prSet presAssocID="{7774DC50-D877-5D43-BBE9-6A13BE782440}" presName="connTx" presStyleLbl="parChTrans1D3" presStyleIdx="0" presStyleCnt="4"/>
      <dgm:spPr/>
    </dgm:pt>
    <dgm:pt modelId="{4696F891-4CC7-F548-964B-0B86FFBBC00C}" type="pres">
      <dgm:prSet presAssocID="{DC2C7614-79C1-3748-B6E5-808A70471F99}" presName="root2" presStyleCnt="0"/>
      <dgm:spPr/>
    </dgm:pt>
    <dgm:pt modelId="{C1373B57-5A7D-2843-93B8-F371E11895EF}" type="pres">
      <dgm:prSet presAssocID="{DC2C7614-79C1-3748-B6E5-808A70471F99}" presName="LevelTwoTextNode" presStyleLbl="node3" presStyleIdx="0" presStyleCnt="4">
        <dgm:presLayoutVars>
          <dgm:chPref val="3"/>
        </dgm:presLayoutVars>
      </dgm:prSet>
      <dgm:spPr/>
    </dgm:pt>
    <dgm:pt modelId="{6361E079-9516-8249-98B5-2C61B5D154F0}" type="pres">
      <dgm:prSet presAssocID="{DC2C7614-79C1-3748-B6E5-808A70471F99}" presName="level3hierChild" presStyleCnt="0"/>
      <dgm:spPr/>
    </dgm:pt>
    <dgm:pt modelId="{3CBCF565-0D18-AD42-82EA-B3A960420BC5}" type="pres">
      <dgm:prSet presAssocID="{CAF8F5EB-CC8E-2348-BB61-750D66276C2B}" presName="conn2-1" presStyleLbl="parChTrans1D4" presStyleIdx="0" presStyleCnt="2"/>
      <dgm:spPr/>
    </dgm:pt>
    <dgm:pt modelId="{88984FEF-E685-6E46-8598-BEEAC3EC3704}" type="pres">
      <dgm:prSet presAssocID="{CAF8F5EB-CC8E-2348-BB61-750D66276C2B}" presName="connTx" presStyleLbl="parChTrans1D4" presStyleIdx="0" presStyleCnt="2"/>
      <dgm:spPr/>
    </dgm:pt>
    <dgm:pt modelId="{C2405D86-E154-EB4E-9D3C-3005F448CB3B}" type="pres">
      <dgm:prSet presAssocID="{DAF7AE2E-29FC-944B-8EB2-432AF37B1E04}" presName="root2" presStyleCnt="0"/>
      <dgm:spPr/>
    </dgm:pt>
    <dgm:pt modelId="{26FC079C-B752-5F41-A856-0CDFF93985DA}" type="pres">
      <dgm:prSet presAssocID="{DAF7AE2E-29FC-944B-8EB2-432AF37B1E04}" presName="LevelTwoTextNode" presStyleLbl="node4" presStyleIdx="0" presStyleCnt="2">
        <dgm:presLayoutVars>
          <dgm:chPref val="3"/>
        </dgm:presLayoutVars>
      </dgm:prSet>
      <dgm:spPr/>
    </dgm:pt>
    <dgm:pt modelId="{BDAD8AC1-DF5B-7C4B-BA57-E2EBA3C47A9C}" type="pres">
      <dgm:prSet presAssocID="{DAF7AE2E-29FC-944B-8EB2-432AF37B1E04}" presName="level3hierChild" presStyleCnt="0"/>
      <dgm:spPr/>
    </dgm:pt>
    <dgm:pt modelId="{45D9446E-47AB-164D-B4CE-DDD3D5628B69}" type="pres">
      <dgm:prSet presAssocID="{E1277071-7B5E-E449-AA21-84B9CCBDADBE}" presName="conn2-1" presStyleLbl="parChTrans1D4" presStyleIdx="1" presStyleCnt="2"/>
      <dgm:spPr/>
    </dgm:pt>
    <dgm:pt modelId="{EAAA7648-EF3E-2548-8F02-D489DFAF208A}" type="pres">
      <dgm:prSet presAssocID="{E1277071-7B5E-E449-AA21-84B9CCBDADBE}" presName="connTx" presStyleLbl="parChTrans1D4" presStyleIdx="1" presStyleCnt="2"/>
      <dgm:spPr/>
    </dgm:pt>
    <dgm:pt modelId="{CA4F9C52-21E4-0A4C-BD3A-068494D8DA4C}" type="pres">
      <dgm:prSet presAssocID="{175089D4-034E-7A46-9C37-5CB328C781AE}" presName="root2" presStyleCnt="0"/>
      <dgm:spPr/>
    </dgm:pt>
    <dgm:pt modelId="{2231B17C-F3BC-A748-A254-A4ED44901516}" type="pres">
      <dgm:prSet presAssocID="{175089D4-034E-7A46-9C37-5CB328C781AE}" presName="LevelTwoTextNode" presStyleLbl="node4" presStyleIdx="1" presStyleCnt="2">
        <dgm:presLayoutVars>
          <dgm:chPref val="3"/>
        </dgm:presLayoutVars>
      </dgm:prSet>
      <dgm:spPr/>
    </dgm:pt>
    <dgm:pt modelId="{BD2917EE-A414-D842-B6B5-AF1CAC2C66E4}" type="pres">
      <dgm:prSet presAssocID="{175089D4-034E-7A46-9C37-5CB328C781AE}" presName="level3hierChild" presStyleCnt="0"/>
      <dgm:spPr/>
    </dgm:pt>
    <dgm:pt modelId="{5DDF439B-EDB3-FC45-A5D8-D245E3308255}" type="pres">
      <dgm:prSet presAssocID="{9B671BF0-FD21-8E4D-B7EA-95A0CD75E901}" presName="conn2-1" presStyleLbl="parChTrans1D3" presStyleIdx="1" presStyleCnt="4"/>
      <dgm:spPr/>
    </dgm:pt>
    <dgm:pt modelId="{7B595B26-D299-274F-BBCF-0E42F0263985}" type="pres">
      <dgm:prSet presAssocID="{9B671BF0-FD21-8E4D-B7EA-95A0CD75E901}" presName="connTx" presStyleLbl="parChTrans1D3" presStyleIdx="1" presStyleCnt="4"/>
      <dgm:spPr/>
    </dgm:pt>
    <dgm:pt modelId="{5D67F62B-70B1-604B-B982-4B95A3845987}" type="pres">
      <dgm:prSet presAssocID="{BCD55776-20B7-7C4C-9260-54F95F0F7ED9}" presName="root2" presStyleCnt="0"/>
      <dgm:spPr/>
    </dgm:pt>
    <dgm:pt modelId="{57D56CF0-C13D-824D-BDFF-7C28028B8B73}" type="pres">
      <dgm:prSet presAssocID="{BCD55776-20B7-7C4C-9260-54F95F0F7ED9}" presName="LevelTwoTextNode" presStyleLbl="node3" presStyleIdx="1" presStyleCnt="4">
        <dgm:presLayoutVars>
          <dgm:chPref val="3"/>
        </dgm:presLayoutVars>
      </dgm:prSet>
      <dgm:spPr/>
    </dgm:pt>
    <dgm:pt modelId="{D3B3E26A-4EE6-074C-9D13-6865F11CF68A}" type="pres">
      <dgm:prSet presAssocID="{BCD55776-20B7-7C4C-9260-54F95F0F7ED9}" presName="level3hierChild" presStyleCnt="0"/>
      <dgm:spPr/>
    </dgm:pt>
    <dgm:pt modelId="{28089231-4519-0843-9903-B6F029E7E658}" type="pres">
      <dgm:prSet presAssocID="{50B570DA-92A7-5B40-BD7D-44C266E00598}" presName="conn2-1" presStyleLbl="parChTrans1D2" presStyleIdx="1" presStyleCnt="2"/>
      <dgm:spPr/>
    </dgm:pt>
    <dgm:pt modelId="{438C621B-9117-F54A-80E2-699BC8CD02C5}" type="pres">
      <dgm:prSet presAssocID="{50B570DA-92A7-5B40-BD7D-44C266E00598}" presName="connTx" presStyleLbl="parChTrans1D2" presStyleIdx="1" presStyleCnt="2"/>
      <dgm:spPr/>
    </dgm:pt>
    <dgm:pt modelId="{9A846637-A798-FC40-BBA3-1539A2CF50A1}" type="pres">
      <dgm:prSet presAssocID="{02B10FBF-6C9E-6B4D-9537-7E058700B0DF}" presName="root2" presStyleCnt="0"/>
      <dgm:spPr/>
    </dgm:pt>
    <dgm:pt modelId="{DBE49202-7EC6-F74D-B2D8-7F411EBF2800}" type="pres">
      <dgm:prSet presAssocID="{02B10FBF-6C9E-6B4D-9537-7E058700B0DF}" presName="LevelTwoTextNode" presStyleLbl="node2" presStyleIdx="1" presStyleCnt="2" custScaleX="126545">
        <dgm:presLayoutVars>
          <dgm:chPref val="3"/>
        </dgm:presLayoutVars>
      </dgm:prSet>
      <dgm:spPr/>
    </dgm:pt>
    <dgm:pt modelId="{93BFEC82-AABD-1247-B559-6F0FCE90C196}" type="pres">
      <dgm:prSet presAssocID="{02B10FBF-6C9E-6B4D-9537-7E058700B0DF}" presName="level3hierChild" presStyleCnt="0"/>
      <dgm:spPr/>
    </dgm:pt>
    <dgm:pt modelId="{232B6F91-FD38-5640-A143-EA3B1A0EBBB7}" type="pres">
      <dgm:prSet presAssocID="{DC72BD3E-0158-FB4E-B712-B46F740AFB52}" presName="conn2-1" presStyleLbl="parChTrans1D3" presStyleIdx="2" presStyleCnt="4"/>
      <dgm:spPr/>
    </dgm:pt>
    <dgm:pt modelId="{FE93ED34-E6EA-9B41-B588-447FCC68471E}" type="pres">
      <dgm:prSet presAssocID="{DC72BD3E-0158-FB4E-B712-B46F740AFB52}" presName="connTx" presStyleLbl="parChTrans1D3" presStyleIdx="2" presStyleCnt="4"/>
      <dgm:spPr/>
    </dgm:pt>
    <dgm:pt modelId="{8C6E53EC-C5F2-D24A-B8DA-D801E8CCFDD8}" type="pres">
      <dgm:prSet presAssocID="{54C215A0-22F5-EB41-AB61-859F62440350}" presName="root2" presStyleCnt="0"/>
      <dgm:spPr/>
    </dgm:pt>
    <dgm:pt modelId="{0263A7EF-291D-2F46-9F58-FAFB68A9330C}" type="pres">
      <dgm:prSet presAssocID="{54C215A0-22F5-EB41-AB61-859F62440350}" presName="LevelTwoTextNode" presStyleLbl="node3" presStyleIdx="2" presStyleCnt="4">
        <dgm:presLayoutVars>
          <dgm:chPref val="3"/>
        </dgm:presLayoutVars>
      </dgm:prSet>
      <dgm:spPr/>
    </dgm:pt>
    <dgm:pt modelId="{31F0A348-862E-3F4D-9AA0-4E325596F595}" type="pres">
      <dgm:prSet presAssocID="{54C215A0-22F5-EB41-AB61-859F62440350}" presName="level3hierChild" presStyleCnt="0"/>
      <dgm:spPr/>
    </dgm:pt>
    <dgm:pt modelId="{68C7A2CD-96E1-6F43-9D02-896C0B4D13A2}" type="pres">
      <dgm:prSet presAssocID="{2899965F-F416-614B-A2C8-55BE71E5AB68}" presName="conn2-1" presStyleLbl="parChTrans1D3" presStyleIdx="3" presStyleCnt="4"/>
      <dgm:spPr/>
    </dgm:pt>
    <dgm:pt modelId="{B130A067-356E-7B48-9286-BAE44A4562EC}" type="pres">
      <dgm:prSet presAssocID="{2899965F-F416-614B-A2C8-55BE71E5AB68}" presName="connTx" presStyleLbl="parChTrans1D3" presStyleIdx="3" presStyleCnt="4"/>
      <dgm:spPr/>
    </dgm:pt>
    <dgm:pt modelId="{E616C5A3-03F6-4546-8CE5-8D69E799E1E6}" type="pres">
      <dgm:prSet presAssocID="{C101DB18-83C1-054E-B16B-E8CD819C1293}" presName="root2" presStyleCnt="0"/>
      <dgm:spPr/>
    </dgm:pt>
    <dgm:pt modelId="{A0C91F8B-8675-4948-8BC8-F0524AB7665E}" type="pres">
      <dgm:prSet presAssocID="{C101DB18-83C1-054E-B16B-E8CD819C1293}" presName="LevelTwoTextNode" presStyleLbl="node3" presStyleIdx="3" presStyleCnt="4">
        <dgm:presLayoutVars>
          <dgm:chPref val="3"/>
        </dgm:presLayoutVars>
      </dgm:prSet>
      <dgm:spPr/>
    </dgm:pt>
    <dgm:pt modelId="{DC5ABA78-AADB-A64C-A6BA-888D52FBEE31}" type="pres">
      <dgm:prSet presAssocID="{C101DB18-83C1-054E-B16B-E8CD819C1293}" presName="level3hierChild" presStyleCnt="0"/>
      <dgm:spPr/>
    </dgm:pt>
    <dgm:pt modelId="{10DEA272-A28E-2345-A69F-87E9F6202188}" type="pres">
      <dgm:prSet presAssocID="{16F48F30-D040-C44B-968A-40B43FD5F852}" presName="root1" presStyleCnt="0"/>
      <dgm:spPr/>
    </dgm:pt>
    <dgm:pt modelId="{ADD3AD45-DE0D-664B-B945-83E453C517E6}" type="pres">
      <dgm:prSet presAssocID="{16F48F30-D040-C44B-968A-40B43FD5F852}" presName="LevelOneTextNode" presStyleLbl="node0" presStyleIdx="1" presStyleCnt="2">
        <dgm:presLayoutVars>
          <dgm:chPref val="3"/>
        </dgm:presLayoutVars>
      </dgm:prSet>
      <dgm:spPr/>
    </dgm:pt>
    <dgm:pt modelId="{A2D08E7C-500A-1F47-BDC6-E4F1A491604B}" type="pres">
      <dgm:prSet presAssocID="{16F48F30-D040-C44B-968A-40B43FD5F852}" presName="level2hierChild" presStyleCnt="0"/>
      <dgm:spPr/>
    </dgm:pt>
  </dgm:ptLst>
  <dgm:cxnLst>
    <dgm:cxn modelId="{8B364C06-19F7-E04B-B978-D60288B89C4B}" type="presOf" srcId="{797AFE9C-998E-D84D-BD84-E9BBF63D4DF7}" destId="{71374535-BFEF-474F-A4DD-23B92F76F411}" srcOrd="0" destOrd="0" presId="urn:microsoft.com/office/officeart/2005/8/layout/hierarchy2"/>
    <dgm:cxn modelId="{2A4DCF06-C312-434B-9CD9-CA593593BDEC}" type="presOf" srcId="{9B671BF0-FD21-8E4D-B7EA-95A0CD75E901}" destId="{5DDF439B-EDB3-FC45-A5D8-D245E3308255}" srcOrd="0" destOrd="0" presId="urn:microsoft.com/office/officeart/2005/8/layout/hierarchy2"/>
    <dgm:cxn modelId="{03185A0F-B5DC-2344-A13F-5AB8951FDCDE}" type="presOf" srcId="{48B5BC82-57A3-AD40-845A-25149343745F}" destId="{A169CF7E-C67D-994D-B92C-7C596655860B}" srcOrd="1" destOrd="0" presId="urn:microsoft.com/office/officeart/2005/8/layout/hierarchy2"/>
    <dgm:cxn modelId="{81D90E17-6450-5E47-8B87-5905FB5DC5DF}" type="presOf" srcId="{DC72BD3E-0158-FB4E-B712-B46F740AFB52}" destId="{FE93ED34-E6EA-9B41-B588-447FCC68471E}" srcOrd="1" destOrd="0" presId="urn:microsoft.com/office/officeart/2005/8/layout/hierarchy2"/>
    <dgm:cxn modelId="{6D6F9719-9183-1B40-B65D-E495F777C7F8}" type="presOf" srcId="{7774DC50-D877-5D43-BBE9-6A13BE782440}" destId="{F2AB43C2-71CD-9B48-B1F5-06D9982A1E0A}" srcOrd="0" destOrd="0" presId="urn:microsoft.com/office/officeart/2005/8/layout/hierarchy2"/>
    <dgm:cxn modelId="{20C14E26-FE5D-E941-9D48-2A12F51115CD}" type="presOf" srcId="{7774DC50-D877-5D43-BBE9-6A13BE782440}" destId="{F10AC0AC-2779-924C-9053-0771213E77B4}" srcOrd="1" destOrd="0" presId="urn:microsoft.com/office/officeart/2005/8/layout/hierarchy2"/>
    <dgm:cxn modelId="{82032C28-D7D7-124B-A116-C23B2478120B}" type="presOf" srcId="{E1277071-7B5E-E449-AA21-84B9CCBDADBE}" destId="{45D9446E-47AB-164D-B4CE-DDD3D5628B69}" srcOrd="0" destOrd="0" presId="urn:microsoft.com/office/officeart/2005/8/layout/hierarchy2"/>
    <dgm:cxn modelId="{0FBDF42E-B49D-E340-8D2C-92592EC64664}" type="presOf" srcId="{DAF7AE2E-29FC-944B-8EB2-432AF37B1E04}" destId="{26FC079C-B752-5F41-A856-0CDFF93985DA}" srcOrd="0" destOrd="0" presId="urn:microsoft.com/office/officeart/2005/8/layout/hierarchy2"/>
    <dgm:cxn modelId="{EC2E683B-1615-8B4B-9C04-7A3630E9A97C}" srcId="{F1619D1F-084F-0C4B-8873-4F91AFECCE2C}" destId="{16F48F30-D040-C44B-968A-40B43FD5F852}" srcOrd="1" destOrd="0" parTransId="{4F913867-4743-584C-9394-3DC729E751BD}" sibTransId="{2CA9B144-F793-684E-9421-A64D24B3DEA6}"/>
    <dgm:cxn modelId="{40960540-DFBD-C64F-AE57-2F82D0FAE197}" type="presOf" srcId="{C101DB18-83C1-054E-B16B-E8CD819C1293}" destId="{A0C91F8B-8675-4948-8BC8-F0524AB7665E}" srcOrd="0" destOrd="0" presId="urn:microsoft.com/office/officeart/2005/8/layout/hierarchy2"/>
    <dgm:cxn modelId="{3CAA9C48-AC84-6F48-938A-D1ACEC05F166}" srcId="{02B10FBF-6C9E-6B4D-9537-7E058700B0DF}" destId="{54C215A0-22F5-EB41-AB61-859F62440350}" srcOrd="0" destOrd="0" parTransId="{DC72BD3E-0158-FB4E-B712-B46F740AFB52}" sibTransId="{E8F92C9D-F0B5-6942-B057-3CA9371764F5}"/>
    <dgm:cxn modelId="{6007554B-66A8-1E44-86AD-C2DD05BA24D8}" type="presOf" srcId="{E1277071-7B5E-E449-AA21-84B9CCBDADBE}" destId="{EAAA7648-EF3E-2548-8F02-D489DFAF208A}" srcOrd="1" destOrd="0" presId="urn:microsoft.com/office/officeart/2005/8/layout/hierarchy2"/>
    <dgm:cxn modelId="{C1BA204E-B687-D841-8906-2E71ACB24C48}" srcId="{DC2C7614-79C1-3748-B6E5-808A70471F99}" destId="{DAF7AE2E-29FC-944B-8EB2-432AF37B1E04}" srcOrd="0" destOrd="0" parTransId="{CAF8F5EB-CC8E-2348-BB61-750D66276C2B}" sibTransId="{BC28A0BE-E967-0E4E-BBE4-15BCF72F009E}"/>
    <dgm:cxn modelId="{D520684E-5E6E-D045-AB7C-A91DCE070316}" type="presOf" srcId="{DC2C7614-79C1-3748-B6E5-808A70471F99}" destId="{C1373B57-5A7D-2843-93B8-F371E11895EF}" srcOrd="0" destOrd="0" presId="urn:microsoft.com/office/officeart/2005/8/layout/hierarchy2"/>
    <dgm:cxn modelId="{2C060055-D2A1-CB40-A2BB-BD20030598D0}" srcId="{797AFE9C-998E-D84D-BD84-E9BBF63D4DF7}" destId="{BCD55776-20B7-7C4C-9260-54F95F0F7ED9}" srcOrd="1" destOrd="0" parTransId="{9B671BF0-FD21-8E4D-B7EA-95A0CD75E901}" sibTransId="{8276430E-CE88-2C46-83FB-A7C179DA49E7}"/>
    <dgm:cxn modelId="{5EF6ED57-2023-FA40-9201-3FB33CFCD0DF}" srcId="{F1619D1F-084F-0C4B-8873-4F91AFECCE2C}" destId="{90CBA2C9-01D1-9D4B-B8DC-488824CE961D}" srcOrd="0" destOrd="0" parTransId="{0C18E361-C823-684F-9091-DA337E85DE2A}" sibTransId="{D2102A65-EF3E-8849-B4F2-826444DDA64D}"/>
    <dgm:cxn modelId="{466CC35A-EDDD-6446-BCD8-A49A9F27FACC}" srcId="{797AFE9C-998E-D84D-BD84-E9BBF63D4DF7}" destId="{DC2C7614-79C1-3748-B6E5-808A70471F99}" srcOrd="0" destOrd="0" parTransId="{7774DC50-D877-5D43-BBE9-6A13BE782440}" sibTransId="{380EDE04-51B2-DA42-B5D0-6CBAC04C5058}"/>
    <dgm:cxn modelId="{F89C825D-FF87-7248-A171-460113F30DBF}" type="presOf" srcId="{175089D4-034E-7A46-9C37-5CB328C781AE}" destId="{2231B17C-F3BC-A748-A254-A4ED44901516}" srcOrd="0" destOrd="0" presId="urn:microsoft.com/office/officeart/2005/8/layout/hierarchy2"/>
    <dgm:cxn modelId="{FAF23672-C1E9-4644-821B-5B9A53791604}" type="presOf" srcId="{9B671BF0-FD21-8E4D-B7EA-95A0CD75E901}" destId="{7B595B26-D299-274F-BBCF-0E42F0263985}" srcOrd="1" destOrd="0" presId="urn:microsoft.com/office/officeart/2005/8/layout/hierarchy2"/>
    <dgm:cxn modelId="{4A324684-593D-F148-AE89-73222B5A8FCF}" type="presOf" srcId="{DC72BD3E-0158-FB4E-B712-B46F740AFB52}" destId="{232B6F91-FD38-5640-A143-EA3B1A0EBBB7}" srcOrd="0" destOrd="0" presId="urn:microsoft.com/office/officeart/2005/8/layout/hierarchy2"/>
    <dgm:cxn modelId="{49C53D89-50CA-4B40-B894-6F4672D5D711}" type="presOf" srcId="{CAF8F5EB-CC8E-2348-BB61-750D66276C2B}" destId="{88984FEF-E685-6E46-8598-BEEAC3EC3704}" srcOrd="1" destOrd="0" presId="urn:microsoft.com/office/officeart/2005/8/layout/hierarchy2"/>
    <dgm:cxn modelId="{3EE3AA8F-4223-4F43-A13A-C468DD649403}" srcId="{90CBA2C9-01D1-9D4B-B8DC-488824CE961D}" destId="{02B10FBF-6C9E-6B4D-9537-7E058700B0DF}" srcOrd="1" destOrd="0" parTransId="{50B570DA-92A7-5B40-BD7D-44C266E00598}" sibTransId="{A6274777-254A-2442-BCDF-291B53C1508F}"/>
    <dgm:cxn modelId="{75C2DC93-6E92-9A48-81ED-685E7D9D4322}" type="presOf" srcId="{2899965F-F416-614B-A2C8-55BE71E5AB68}" destId="{B130A067-356E-7B48-9286-BAE44A4562EC}" srcOrd="1" destOrd="0" presId="urn:microsoft.com/office/officeart/2005/8/layout/hierarchy2"/>
    <dgm:cxn modelId="{CAAC2198-34C5-BA41-BF25-F99EDEA17254}" type="presOf" srcId="{02B10FBF-6C9E-6B4D-9537-7E058700B0DF}" destId="{DBE49202-7EC6-F74D-B2D8-7F411EBF2800}" srcOrd="0" destOrd="0" presId="urn:microsoft.com/office/officeart/2005/8/layout/hierarchy2"/>
    <dgm:cxn modelId="{CE6A2699-05AA-4848-AECA-089DE2F34059}" srcId="{DC2C7614-79C1-3748-B6E5-808A70471F99}" destId="{175089D4-034E-7A46-9C37-5CB328C781AE}" srcOrd="1" destOrd="0" parTransId="{E1277071-7B5E-E449-AA21-84B9CCBDADBE}" sibTransId="{7A794400-FD70-F24F-8FFC-57C7624FB5DC}"/>
    <dgm:cxn modelId="{493BD6A8-D55D-0247-A351-186298E5DB5E}" type="presOf" srcId="{54C215A0-22F5-EB41-AB61-859F62440350}" destId="{0263A7EF-291D-2F46-9F58-FAFB68A9330C}" srcOrd="0" destOrd="0" presId="urn:microsoft.com/office/officeart/2005/8/layout/hierarchy2"/>
    <dgm:cxn modelId="{F8CE36B5-E873-E544-90AC-6C5EAA174A1F}" type="presOf" srcId="{CAF8F5EB-CC8E-2348-BB61-750D66276C2B}" destId="{3CBCF565-0D18-AD42-82EA-B3A960420BC5}" srcOrd="0" destOrd="0" presId="urn:microsoft.com/office/officeart/2005/8/layout/hierarchy2"/>
    <dgm:cxn modelId="{5447F7BE-3BFA-E344-BF54-7683FDDB5C5D}" type="presOf" srcId="{48B5BC82-57A3-AD40-845A-25149343745F}" destId="{7C0819C2-8256-F442-B22A-FC5EC0372F14}" srcOrd="0" destOrd="0" presId="urn:microsoft.com/office/officeart/2005/8/layout/hierarchy2"/>
    <dgm:cxn modelId="{3DCF90D6-F4B4-F745-99A7-EC7D9483B359}" type="presOf" srcId="{BCD55776-20B7-7C4C-9260-54F95F0F7ED9}" destId="{57D56CF0-C13D-824D-BDFF-7C28028B8B73}" srcOrd="0" destOrd="0" presId="urn:microsoft.com/office/officeart/2005/8/layout/hierarchy2"/>
    <dgm:cxn modelId="{0D929BD6-E23C-DF47-8F85-189C74723B1B}" type="presOf" srcId="{50B570DA-92A7-5B40-BD7D-44C266E00598}" destId="{438C621B-9117-F54A-80E2-699BC8CD02C5}" srcOrd="1" destOrd="0" presId="urn:microsoft.com/office/officeart/2005/8/layout/hierarchy2"/>
    <dgm:cxn modelId="{ABC248E0-1D85-3344-9CBE-954720E7D1E8}" type="presOf" srcId="{50B570DA-92A7-5B40-BD7D-44C266E00598}" destId="{28089231-4519-0843-9903-B6F029E7E658}" srcOrd="0" destOrd="0" presId="urn:microsoft.com/office/officeart/2005/8/layout/hierarchy2"/>
    <dgm:cxn modelId="{65C51CE2-ABBF-D045-9C18-D7283A7D8938}" type="presOf" srcId="{F1619D1F-084F-0C4B-8873-4F91AFECCE2C}" destId="{E2A4F380-81FF-AC48-A4F0-BF45DE3B8DC9}" srcOrd="0" destOrd="0" presId="urn:microsoft.com/office/officeart/2005/8/layout/hierarchy2"/>
    <dgm:cxn modelId="{456A2AE6-3369-8A41-85DC-76B56EAE0E96}" srcId="{02B10FBF-6C9E-6B4D-9537-7E058700B0DF}" destId="{C101DB18-83C1-054E-B16B-E8CD819C1293}" srcOrd="1" destOrd="0" parTransId="{2899965F-F416-614B-A2C8-55BE71E5AB68}" sibTransId="{0E9184F3-8079-3941-84A1-8D1EB180F1D7}"/>
    <dgm:cxn modelId="{4C8ABBEC-35C6-B94B-BB38-53B6B1C42144}" type="presOf" srcId="{16F48F30-D040-C44B-968A-40B43FD5F852}" destId="{ADD3AD45-DE0D-664B-B945-83E453C517E6}" srcOrd="0" destOrd="0" presId="urn:microsoft.com/office/officeart/2005/8/layout/hierarchy2"/>
    <dgm:cxn modelId="{20FBE5EF-A844-9F41-98C3-224253FDFC31}" srcId="{90CBA2C9-01D1-9D4B-B8DC-488824CE961D}" destId="{797AFE9C-998E-D84D-BD84-E9BBF63D4DF7}" srcOrd="0" destOrd="0" parTransId="{48B5BC82-57A3-AD40-845A-25149343745F}" sibTransId="{5D7558A1-7005-0A48-B7FB-2B929F131B67}"/>
    <dgm:cxn modelId="{57C793F0-3B0A-8D4D-8A2A-20392542B244}" type="presOf" srcId="{2899965F-F416-614B-A2C8-55BE71E5AB68}" destId="{68C7A2CD-96E1-6F43-9D02-896C0B4D13A2}" srcOrd="0" destOrd="0" presId="urn:microsoft.com/office/officeart/2005/8/layout/hierarchy2"/>
    <dgm:cxn modelId="{45F382FE-EBAE-2A4C-BE59-C6F469623046}" type="presOf" srcId="{90CBA2C9-01D1-9D4B-B8DC-488824CE961D}" destId="{6C5FFA5A-70BF-4942-BDDB-EE01271FAE70}" srcOrd="0" destOrd="0" presId="urn:microsoft.com/office/officeart/2005/8/layout/hierarchy2"/>
    <dgm:cxn modelId="{D6E9AD78-0425-E64C-A345-04DED6FAF935}" type="presParOf" srcId="{E2A4F380-81FF-AC48-A4F0-BF45DE3B8DC9}" destId="{2F9513E9-F6F1-174B-9C92-5F4E6F41A096}" srcOrd="0" destOrd="0" presId="urn:microsoft.com/office/officeart/2005/8/layout/hierarchy2"/>
    <dgm:cxn modelId="{3FE8C5F5-3462-7949-B0A8-C4DB6E60B208}" type="presParOf" srcId="{2F9513E9-F6F1-174B-9C92-5F4E6F41A096}" destId="{6C5FFA5A-70BF-4942-BDDB-EE01271FAE70}" srcOrd="0" destOrd="0" presId="urn:microsoft.com/office/officeart/2005/8/layout/hierarchy2"/>
    <dgm:cxn modelId="{BB4C2C94-840F-B24A-B366-CE89985EE6EB}" type="presParOf" srcId="{2F9513E9-F6F1-174B-9C92-5F4E6F41A096}" destId="{813E32EF-E1DB-D148-AFB6-3F6EDAE3E550}" srcOrd="1" destOrd="0" presId="urn:microsoft.com/office/officeart/2005/8/layout/hierarchy2"/>
    <dgm:cxn modelId="{4A5607A5-2EBF-AC4C-A8C5-024617DFEE50}" type="presParOf" srcId="{813E32EF-E1DB-D148-AFB6-3F6EDAE3E550}" destId="{7C0819C2-8256-F442-B22A-FC5EC0372F14}" srcOrd="0" destOrd="0" presId="urn:microsoft.com/office/officeart/2005/8/layout/hierarchy2"/>
    <dgm:cxn modelId="{D041A993-CAF3-E643-9553-96489B2C8683}" type="presParOf" srcId="{7C0819C2-8256-F442-B22A-FC5EC0372F14}" destId="{A169CF7E-C67D-994D-B92C-7C596655860B}" srcOrd="0" destOrd="0" presId="urn:microsoft.com/office/officeart/2005/8/layout/hierarchy2"/>
    <dgm:cxn modelId="{4A116BEB-5748-0846-A0CB-5EBF8BC8C039}" type="presParOf" srcId="{813E32EF-E1DB-D148-AFB6-3F6EDAE3E550}" destId="{121BD799-926D-8C43-B249-7924787DA01A}" srcOrd="1" destOrd="0" presId="urn:microsoft.com/office/officeart/2005/8/layout/hierarchy2"/>
    <dgm:cxn modelId="{0A0180CC-5E90-884E-B0D5-0A93818C1A0F}" type="presParOf" srcId="{121BD799-926D-8C43-B249-7924787DA01A}" destId="{71374535-BFEF-474F-A4DD-23B92F76F411}" srcOrd="0" destOrd="0" presId="urn:microsoft.com/office/officeart/2005/8/layout/hierarchy2"/>
    <dgm:cxn modelId="{57DB57C7-145E-AA42-A166-54A619AD34EF}" type="presParOf" srcId="{121BD799-926D-8C43-B249-7924787DA01A}" destId="{F1BA49CD-5132-7345-9978-2D434CBA6DDA}" srcOrd="1" destOrd="0" presId="urn:microsoft.com/office/officeart/2005/8/layout/hierarchy2"/>
    <dgm:cxn modelId="{CBAB37EF-00DC-2747-8CD9-E2D2539B9345}" type="presParOf" srcId="{F1BA49CD-5132-7345-9978-2D434CBA6DDA}" destId="{F2AB43C2-71CD-9B48-B1F5-06D9982A1E0A}" srcOrd="0" destOrd="0" presId="urn:microsoft.com/office/officeart/2005/8/layout/hierarchy2"/>
    <dgm:cxn modelId="{03C7006C-17F8-664A-A4BE-D40D1C8617FF}" type="presParOf" srcId="{F2AB43C2-71CD-9B48-B1F5-06D9982A1E0A}" destId="{F10AC0AC-2779-924C-9053-0771213E77B4}" srcOrd="0" destOrd="0" presId="urn:microsoft.com/office/officeart/2005/8/layout/hierarchy2"/>
    <dgm:cxn modelId="{60F09470-2E00-AF40-9D58-E037F784EDD7}" type="presParOf" srcId="{F1BA49CD-5132-7345-9978-2D434CBA6DDA}" destId="{4696F891-4CC7-F548-964B-0B86FFBBC00C}" srcOrd="1" destOrd="0" presId="urn:microsoft.com/office/officeart/2005/8/layout/hierarchy2"/>
    <dgm:cxn modelId="{01748865-C1D9-E544-B5A4-78D9CD3FD71C}" type="presParOf" srcId="{4696F891-4CC7-F548-964B-0B86FFBBC00C}" destId="{C1373B57-5A7D-2843-93B8-F371E11895EF}" srcOrd="0" destOrd="0" presId="urn:microsoft.com/office/officeart/2005/8/layout/hierarchy2"/>
    <dgm:cxn modelId="{74E83951-D8CD-CE4E-9898-DEC5E468712F}" type="presParOf" srcId="{4696F891-4CC7-F548-964B-0B86FFBBC00C}" destId="{6361E079-9516-8249-98B5-2C61B5D154F0}" srcOrd="1" destOrd="0" presId="urn:microsoft.com/office/officeart/2005/8/layout/hierarchy2"/>
    <dgm:cxn modelId="{2999E90F-C52B-B845-91BB-C3F169BB0202}" type="presParOf" srcId="{6361E079-9516-8249-98B5-2C61B5D154F0}" destId="{3CBCF565-0D18-AD42-82EA-B3A960420BC5}" srcOrd="0" destOrd="0" presId="urn:microsoft.com/office/officeart/2005/8/layout/hierarchy2"/>
    <dgm:cxn modelId="{170757DB-E8B2-3843-B9B0-6D964C17BA02}" type="presParOf" srcId="{3CBCF565-0D18-AD42-82EA-B3A960420BC5}" destId="{88984FEF-E685-6E46-8598-BEEAC3EC3704}" srcOrd="0" destOrd="0" presId="urn:microsoft.com/office/officeart/2005/8/layout/hierarchy2"/>
    <dgm:cxn modelId="{0DD92443-4F2A-4F43-AE13-7557C5C58135}" type="presParOf" srcId="{6361E079-9516-8249-98B5-2C61B5D154F0}" destId="{C2405D86-E154-EB4E-9D3C-3005F448CB3B}" srcOrd="1" destOrd="0" presId="urn:microsoft.com/office/officeart/2005/8/layout/hierarchy2"/>
    <dgm:cxn modelId="{DB602247-3948-D444-8CFB-2962AD6B56EE}" type="presParOf" srcId="{C2405D86-E154-EB4E-9D3C-3005F448CB3B}" destId="{26FC079C-B752-5F41-A856-0CDFF93985DA}" srcOrd="0" destOrd="0" presId="urn:microsoft.com/office/officeart/2005/8/layout/hierarchy2"/>
    <dgm:cxn modelId="{E006EAED-D4EA-2546-AA3C-90ABCF4BE7C7}" type="presParOf" srcId="{C2405D86-E154-EB4E-9D3C-3005F448CB3B}" destId="{BDAD8AC1-DF5B-7C4B-BA57-E2EBA3C47A9C}" srcOrd="1" destOrd="0" presId="urn:microsoft.com/office/officeart/2005/8/layout/hierarchy2"/>
    <dgm:cxn modelId="{C9762594-4450-5942-A926-BC9BC2BEBBFE}" type="presParOf" srcId="{6361E079-9516-8249-98B5-2C61B5D154F0}" destId="{45D9446E-47AB-164D-B4CE-DDD3D5628B69}" srcOrd="2" destOrd="0" presId="urn:microsoft.com/office/officeart/2005/8/layout/hierarchy2"/>
    <dgm:cxn modelId="{9BBA5047-8891-4646-BB42-307764D50577}" type="presParOf" srcId="{45D9446E-47AB-164D-B4CE-DDD3D5628B69}" destId="{EAAA7648-EF3E-2548-8F02-D489DFAF208A}" srcOrd="0" destOrd="0" presId="urn:microsoft.com/office/officeart/2005/8/layout/hierarchy2"/>
    <dgm:cxn modelId="{418E88A5-CEA9-C54C-83B9-09B5F2D79ADE}" type="presParOf" srcId="{6361E079-9516-8249-98B5-2C61B5D154F0}" destId="{CA4F9C52-21E4-0A4C-BD3A-068494D8DA4C}" srcOrd="3" destOrd="0" presId="urn:microsoft.com/office/officeart/2005/8/layout/hierarchy2"/>
    <dgm:cxn modelId="{8C1ADDC9-CA22-FD46-BACB-C195133EE083}" type="presParOf" srcId="{CA4F9C52-21E4-0A4C-BD3A-068494D8DA4C}" destId="{2231B17C-F3BC-A748-A254-A4ED44901516}" srcOrd="0" destOrd="0" presId="urn:microsoft.com/office/officeart/2005/8/layout/hierarchy2"/>
    <dgm:cxn modelId="{97431032-8149-6F42-9A5F-3B670C458DD3}" type="presParOf" srcId="{CA4F9C52-21E4-0A4C-BD3A-068494D8DA4C}" destId="{BD2917EE-A414-D842-B6B5-AF1CAC2C66E4}" srcOrd="1" destOrd="0" presId="urn:microsoft.com/office/officeart/2005/8/layout/hierarchy2"/>
    <dgm:cxn modelId="{741CB37B-DA02-C348-8891-8035A6DE6961}" type="presParOf" srcId="{F1BA49CD-5132-7345-9978-2D434CBA6DDA}" destId="{5DDF439B-EDB3-FC45-A5D8-D245E3308255}" srcOrd="2" destOrd="0" presId="urn:microsoft.com/office/officeart/2005/8/layout/hierarchy2"/>
    <dgm:cxn modelId="{4418B090-BE33-7E45-A946-42F914752834}" type="presParOf" srcId="{5DDF439B-EDB3-FC45-A5D8-D245E3308255}" destId="{7B595B26-D299-274F-BBCF-0E42F0263985}" srcOrd="0" destOrd="0" presId="urn:microsoft.com/office/officeart/2005/8/layout/hierarchy2"/>
    <dgm:cxn modelId="{AEF87E82-2513-7D43-8083-4D65AC10511A}" type="presParOf" srcId="{F1BA49CD-5132-7345-9978-2D434CBA6DDA}" destId="{5D67F62B-70B1-604B-B982-4B95A3845987}" srcOrd="3" destOrd="0" presId="urn:microsoft.com/office/officeart/2005/8/layout/hierarchy2"/>
    <dgm:cxn modelId="{434E2D39-160C-5347-9467-EBD0702B4DAE}" type="presParOf" srcId="{5D67F62B-70B1-604B-B982-4B95A3845987}" destId="{57D56CF0-C13D-824D-BDFF-7C28028B8B73}" srcOrd="0" destOrd="0" presId="urn:microsoft.com/office/officeart/2005/8/layout/hierarchy2"/>
    <dgm:cxn modelId="{E3C00BC9-66B8-3446-B485-934C5C089EF7}" type="presParOf" srcId="{5D67F62B-70B1-604B-B982-4B95A3845987}" destId="{D3B3E26A-4EE6-074C-9D13-6865F11CF68A}" srcOrd="1" destOrd="0" presId="urn:microsoft.com/office/officeart/2005/8/layout/hierarchy2"/>
    <dgm:cxn modelId="{6F8C55A7-3BF9-C74C-AD32-C06A20F1B588}" type="presParOf" srcId="{813E32EF-E1DB-D148-AFB6-3F6EDAE3E550}" destId="{28089231-4519-0843-9903-B6F029E7E658}" srcOrd="2" destOrd="0" presId="urn:microsoft.com/office/officeart/2005/8/layout/hierarchy2"/>
    <dgm:cxn modelId="{08261AE1-ACEA-1A45-9AC1-641700A36E1E}" type="presParOf" srcId="{28089231-4519-0843-9903-B6F029E7E658}" destId="{438C621B-9117-F54A-80E2-699BC8CD02C5}" srcOrd="0" destOrd="0" presId="urn:microsoft.com/office/officeart/2005/8/layout/hierarchy2"/>
    <dgm:cxn modelId="{64183F60-58AD-7948-BF8C-0DBA99020E74}" type="presParOf" srcId="{813E32EF-E1DB-D148-AFB6-3F6EDAE3E550}" destId="{9A846637-A798-FC40-BBA3-1539A2CF50A1}" srcOrd="3" destOrd="0" presId="urn:microsoft.com/office/officeart/2005/8/layout/hierarchy2"/>
    <dgm:cxn modelId="{77AEBA6C-08D9-374C-83CA-F5CC9342DE48}" type="presParOf" srcId="{9A846637-A798-FC40-BBA3-1539A2CF50A1}" destId="{DBE49202-7EC6-F74D-B2D8-7F411EBF2800}" srcOrd="0" destOrd="0" presId="urn:microsoft.com/office/officeart/2005/8/layout/hierarchy2"/>
    <dgm:cxn modelId="{589E6842-8C92-7542-9647-8D6D1C6B982D}" type="presParOf" srcId="{9A846637-A798-FC40-BBA3-1539A2CF50A1}" destId="{93BFEC82-AABD-1247-B559-6F0FCE90C196}" srcOrd="1" destOrd="0" presId="urn:microsoft.com/office/officeart/2005/8/layout/hierarchy2"/>
    <dgm:cxn modelId="{5119D48D-76D0-A549-9095-4D311F210E3E}" type="presParOf" srcId="{93BFEC82-AABD-1247-B559-6F0FCE90C196}" destId="{232B6F91-FD38-5640-A143-EA3B1A0EBBB7}" srcOrd="0" destOrd="0" presId="urn:microsoft.com/office/officeart/2005/8/layout/hierarchy2"/>
    <dgm:cxn modelId="{EA327775-4258-7444-A9A3-034B8F69D580}" type="presParOf" srcId="{232B6F91-FD38-5640-A143-EA3B1A0EBBB7}" destId="{FE93ED34-E6EA-9B41-B588-447FCC68471E}" srcOrd="0" destOrd="0" presId="urn:microsoft.com/office/officeart/2005/8/layout/hierarchy2"/>
    <dgm:cxn modelId="{5E9A1B79-1BE9-B24E-B0C3-99F9E7AED332}" type="presParOf" srcId="{93BFEC82-AABD-1247-B559-6F0FCE90C196}" destId="{8C6E53EC-C5F2-D24A-B8DA-D801E8CCFDD8}" srcOrd="1" destOrd="0" presId="urn:microsoft.com/office/officeart/2005/8/layout/hierarchy2"/>
    <dgm:cxn modelId="{41B87F53-1DE3-8546-8D8D-06F4D1703895}" type="presParOf" srcId="{8C6E53EC-C5F2-D24A-B8DA-D801E8CCFDD8}" destId="{0263A7EF-291D-2F46-9F58-FAFB68A9330C}" srcOrd="0" destOrd="0" presId="urn:microsoft.com/office/officeart/2005/8/layout/hierarchy2"/>
    <dgm:cxn modelId="{E334C9BF-8851-9344-8F9E-054A56957DF3}" type="presParOf" srcId="{8C6E53EC-C5F2-D24A-B8DA-D801E8CCFDD8}" destId="{31F0A348-862E-3F4D-9AA0-4E325596F595}" srcOrd="1" destOrd="0" presId="urn:microsoft.com/office/officeart/2005/8/layout/hierarchy2"/>
    <dgm:cxn modelId="{E33A2AA1-3E9F-0B48-B1E3-66C01BF087D7}" type="presParOf" srcId="{93BFEC82-AABD-1247-B559-6F0FCE90C196}" destId="{68C7A2CD-96E1-6F43-9D02-896C0B4D13A2}" srcOrd="2" destOrd="0" presId="urn:microsoft.com/office/officeart/2005/8/layout/hierarchy2"/>
    <dgm:cxn modelId="{DD37B3E8-0051-2B49-B941-4E15A8A14917}" type="presParOf" srcId="{68C7A2CD-96E1-6F43-9D02-896C0B4D13A2}" destId="{B130A067-356E-7B48-9286-BAE44A4562EC}" srcOrd="0" destOrd="0" presId="urn:microsoft.com/office/officeart/2005/8/layout/hierarchy2"/>
    <dgm:cxn modelId="{0EDA379F-82CD-1041-B53E-DAC5543347D2}" type="presParOf" srcId="{93BFEC82-AABD-1247-B559-6F0FCE90C196}" destId="{E616C5A3-03F6-4546-8CE5-8D69E799E1E6}" srcOrd="3" destOrd="0" presId="urn:microsoft.com/office/officeart/2005/8/layout/hierarchy2"/>
    <dgm:cxn modelId="{A99577FB-0A37-BA4E-ACD7-DED449B704DB}" type="presParOf" srcId="{E616C5A3-03F6-4546-8CE5-8D69E799E1E6}" destId="{A0C91F8B-8675-4948-8BC8-F0524AB7665E}" srcOrd="0" destOrd="0" presId="urn:microsoft.com/office/officeart/2005/8/layout/hierarchy2"/>
    <dgm:cxn modelId="{B0CBF2AA-600C-034D-99C6-2E53C54C9FED}" type="presParOf" srcId="{E616C5A3-03F6-4546-8CE5-8D69E799E1E6}" destId="{DC5ABA78-AADB-A64C-A6BA-888D52FBEE31}" srcOrd="1" destOrd="0" presId="urn:microsoft.com/office/officeart/2005/8/layout/hierarchy2"/>
    <dgm:cxn modelId="{0E98E9AD-C6FE-F64E-A674-68BB22813604}" type="presParOf" srcId="{E2A4F380-81FF-AC48-A4F0-BF45DE3B8DC9}" destId="{10DEA272-A28E-2345-A69F-87E9F6202188}" srcOrd="1" destOrd="0" presId="urn:microsoft.com/office/officeart/2005/8/layout/hierarchy2"/>
    <dgm:cxn modelId="{8D930AAA-F84B-0540-926B-80106DBC600A}" type="presParOf" srcId="{10DEA272-A28E-2345-A69F-87E9F6202188}" destId="{ADD3AD45-DE0D-664B-B945-83E453C517E6}" srcOrd="0" destOrd="0" presId="urn:microsoft.com/office/officeart/2005/8/layout/hierarchy2"/>
    <dgm:cxn modelId="{27BBF2A7-AB88-8442-B65C-763FB2B8B3B3}" type="presParOf" srcId="{10DEA272-A28E-2345-A69F-87E9F6202188}" destId="{A2D08E7C-500A-1F47-BDC6-E4F1A491604B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5185EB2-1BFA-47FD-891A-7DE9F2817D8E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F21B732C-2B24-405F-A594-CF28D2016297}">
      <dgm:prSet phldrT="[文本]" custT="1"/>
      <dgm:spPr>
        <a:solidFill>
          <a:srgbClr val="2932E1"/>
        </a:solidFill>
        <a:ln>
          <a:solidFill>
            <a:srgbClr val="B1AEF6"/>
          </a:solidFill>
        </a:ln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产品列表</a:t>
          </a:r>
        </a:p>
      </dgm:t>
    </dgm:pt>
    <dgm:pt modelId="{E580BBF5-10D5-465E-984E-542102585681}" type="parTrans" cxnId="{9DC89555-BEEC-4875-B952-45C9377BF2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BF35C65-8B8B-4A5E-A477-F6ADFB3B7D62}" type="sibTrans" cxnId="{9DC89555-BEEC-4875-B952-45C9377BF2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65BC20F-C07F-4753-B71B-30753E1FF591}">
      <dgm:prSet phldrT="[文本]" custT="1"/>
      <dgm:spPr>
        <a:solidFill>
          <a:srgbClr val="2932E1"/>
        </a:solidFill>
        <a:ln>
          <a:solidFill>
            <a:srgbClr val="B1AEF6"/>
          </a:solidFill>
        </a:ln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团队速率</a:t>
          </a:r>
        </a:p>
      </dgm:t>
    </dgm:pt>
    <dgm:pt modelId="{F1BF419E-B318-4651-8907-EFCAC9206A92}" type="parTrans" cxnId="{93344522-2E5A-4FDF-90D5-7853D4C21C86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675B65B-7C86-4A8D-B4CF-B12F4D182538}" type="sibTrans" cxnId="{93344522-2E5A-4FDF-90D5-7853D4C21C86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3427743-FC08-4C9F-8E57-20A627D67A70}">
      <dgm:prSet phldrT="[文本]" custT="1"/>
      <dgm:spPr>
        <a:solidFill>
          <a:srgbClr val="2932E1"/>
        </a:solidFill>
        <a:ln>
          <a:solidFill>
            <a:srgbClr val="B1AEF6"/>
          </a:solidFill>
        </a:ln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约束</a:t>
          </a:r>
        </a:p>
      </dgm:t>
    </dgm:pt>
    <dgm:pt modelId="{A4B56937-7040-4740-B706-D8272378DD22}" type="parTrans" cxnId="{19BB8AB0-3525-40E2-AFA8-7F664E8BFE7E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2BF0D0A-D287-48B0-B99E-AE3342B41027}" type="sibTrans" cxnId="{19BB8AB0-3525-40E2-AFA8-7F664E8BFE7E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CFA48A3-7735-4780-90EE-2EBFBE5002A4}">
      <dgm:prSet phldrT="[文本]" custT="1"/>
      <dgm:spPr>
        <a:solidFill>
          <a:srgbClr val="2932E1"/>
        </a:solidFill>
        <a:ln>
          <a:solidFill>
            <a:srgbClr val="B1AEF6"/>
          </a:solidFill>
        </a:ln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迭代目标</a:t>
          </a:r>
        </a:p>
      </dgm:t>
    </dgm:pt>
    <dgm:pt modelId="{D0491EB2-315E-4306-8CDD-703E5F77F93B}" type="parTrans" cxnId="{1C86CB5E-6381-400F-A557-BD4BED86C2D4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B678391-9138-4EC1-9E87-5C4AB607305A}" type="sibTrans" cxnId="{1C86CB5E-6381-400F-A557-BD4BED86C2D4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C478B6D-AD22-45ED-BCE2-FB96BCB1D747}" type="pres">
      <dgm:prSet presAssocID="{05185EB2-1BFA-47FD-891A-7DE9F2817D8E}" presName="diagram" presStyleCnt="0">
        <dgm:presLayoutVars>
          <dgm:dir/>
          <dgm:resizeHandles val="exact"/>
        </dgm:presLayoutVars>
      </dgm:prSet>
      <dgm:spPr/>
    </dgm:pt>
    <dgm:pt modelId="{19E3ECC6-EB09-4418-8FCB-4E633F2488C3}" type="pres">
      <dgm:prSet presAssocID="{F21B732C-2B24-405F-A594-CF28D2016297}" presName="node" presStyleLbl="node1" presStyleIdx="0" presStyleCnt="4">
        <dgm:presLayoutVars>
          <dgm:bulletEnabled val="1"/>
        </dgm:presLayoutVars>
      </dgm:prSet>
      <dgm:spPr/>
    </dgm:pt>
    <dgm:pt modelId="{E6243280-2DA1-436E-BBD3-0851F44A23D7}" type="pres">
      <dgm:prSet presAssocID="{9BF35C65-8B8B-4A5E-A477-F6ADFB3B7D62}" presName="sibTrans" presStyleCnt="0"/>
      <dgm:spPr/>
    </dgm:pt>
    <dgm:pt modelId="{B975A6A9-AA78-4FF3-9D21-8C60920DE693}" type="pres">
      <dgm:prSet presAssocID="{165BC20F-C07F-4753-B71B-30753E1FF591}" presName="node" presStyleLbl="node1" presStyleIdx="1" presStyleCnt="4">
        <dgm:presLayoutVars>
          <dgm:bulletEnabled val="1"/>
        </dgm:presLayoutVars>
      </dgm:prSet>
      <dgm:spPr/>
    </dgm:pt>
    <dgm:pt modelId="{D5F930B7-AC55-4A4C-A2C6-7491D2EE1218}" type="pres">
      <dgm:prSet presAssocID="{2675B65B-7C86-4A8D-B4CF-B12F4D182538}" presName="sibTrans" presStyleCnt="0"/>
      <dgm:spPr/>
    </dgm:pt>
    <dgm:pt modelId="{2FC67792-45B0-49E0-8D50-E95BF538EF9D}" type="pres">
      <dgm:prSet presAssocID="{B3427743-FC08-4C9F-8E57-20A627D67A70}" presName="node" presStyleLbl="node1" presStyleIdx="2" presStyleCnt="4">
        <dgm:presLayoutVars>
          <dgm:bulletEnabled val="1"/>
        </dgm:presLayoutVars>
      </dgm:prSet>
      <dgm:spPr/>
    </dgm:pt>
    <dgm:pt modelId="{CAF2EC2F-9D47-47E9-A1FD-E7937DAF9E9D}" type="pres">
      <dgm:prSet presAssocID="{E2BF0D0A-D287-48B0-B99E-AE3342B41027}" presName="sibTrans" presStyleCnt="0"/>
      <dgm:spPr/>
    </dgm:pt>
    <dgm:pt modelId="{2D7EFDCC-2889-4F39-8BB1-942B67E06B2C}" type="pres">
      <dgm:prSet presAssocID="{7CFA48A3-7735-4780-90EE-2EBFBE5002A4}" presName="node" presStyleLbl="node1" presStyleIdx="3" presStyleCnt="4">
        <dgm:presLayoutVars>
          <dgm:bulletEnabled val="1"/>
        </dgm:presLayoutVars>
      </dgm:prSet>
      <dgm:spPr/>
    </dgm:pt>
  </dgm:ptLst>
  <dgm:cxnLst>
    <dgm:cxn modelId="{93344522-2E5A-4FDF-90D5-7853D4C21C86}" srcId="{05185EB2-1BFA-47FD-891A-7DE9F2817D8E}" destId="{165BC20F-C07F-4753-B71B-30753E1FF591}" srcOrd="1" destOrd="0" parTransId="{F1BF419E-B318-4651-8907-EFCAC9206A92}" sibTransId="{2675B65B-7C86-4A8D-B4CF-B12F4D182538}"/>
    <dgm:cxn modelId="{72AC4632-B5B9-464B-AFB2-56ADBBE40668}" type="presOf" srcId="{7CFA48A3-7735-4780-90EE-2EBFBE5002A4}" destId="{2D7EFDCC-2889-4F39-8BB1-942B67E06B2C}" srcOrd="0" destOrd="0" presId="urn:microsoft.com/office/officeart/2005/8/layout/default#1"/>
    <dgm:cxn modelId="{7B27AA36-58EE-474B-92D3-B40D42649D06}" type="presOf" srcId="{165BC20F-C07F-4753-B71B-30753E1FF591}" destId="{B975A6A9-AA78-4FF3-9D21-8C60920DE693}" srcOrd="0" destOrd="0" presId="urn:microsoft.com/office/officeart/2005/8/layout/default#1"/>
    <dgm:cxn modelId="{0794B43E-EFB5-F144-93A9-2D6452AB42B3}" type="presOf" srcId="{F21B732C-2B24-405F-A594-CF28D2016297}" destId="{19E3ECC6-EB09-4418-8FCB-4E633F2488C3}" srcOrd="0" destOrd="0" presId="urn:microsoft.com/office/officeart/2005/8/layout/default#1"/>
    <dgm:cxn modelId="{9DC89555-BEEC-4875-B952-45C9377BF221}" srcId="{05185EB2-1BFA-47FD-891A-7DE9F2817D8E}" destId="{F21B732C-2B24-405F-A594-CF28D2016297}" srcOrd="0" destOrd="0" parTransId="{E580BBF5-10D5-465E-984E-542102585681}" sibTransId="{9BF35C65-8B8B-4A5E-A477-F6ADFB3B7D62}"/>
    <dgm:cxn modelId="{1C86CB5E-6381-400F-A557-BD4BED86C2D4}" srcId="{05185EB2-1BFA-47FD-891A-7DE9F2817D8E}" destId="{7CFA48A3-7735-4780-90EE-2EBFBE5002A4}" srcOrd="3" destOrd="0" parTransId="{D0491EB2-315E-4306-8CDD-703E5F77F93B}" sibTransId="{8B678391-9138-4EC1-9E87-5C4AB607305A}"/>
    <dgm:cxn modelId="{371384AE-D7F1-A640-B676-CD887D77CFD4}" type="presOf" srcId="{B3427743-FC08-4C9F-8E57-20A627D67A70}" destId="{2FC67792-45B0-49E0-8D50-E95BF538EF9D}" srcOrd="0" destOrd="0" presId="urn:microsoft.com/office/officeart/2005/8/layout/default#1"/>
    <dgm:cxn modelId="{4FBF08B0-EF64-A446-B366-AC9395D85F7E}" type="presOf" srcId="{05185EB2-1BFA-47FD-891A-7DE9F2817D8E}" destId="{3C478B6D-AD22-45ED-BCE2-FB96BCB1D747}" srcOrd="0" destOrd="0" presId="urn:microsoft.com/office/officeart/2005/8/layout/default#1"/>
    <dgm:cxn modelId="{19BB8AB0-3525-40E2-AFA8-7F664E8BFE7E}" srcId="{05185EB2-1BFA-47FD-891A-7DE9F2817D8E}" destId="{B3427743-FC08-4C9F-8E57-20A627D67A70}" srcOrd="2" destOrd="0" parTransId="{A4B56937-7040-4740-B706-D8272378DD22}" sibTransId="{E2BF0D0A-D287-48B0-B99E-AE3342B41027}"/>
    <dgm:cxn modelId="{F0D3361A-3AC2-9745-B6F9-24F5CABEC792}" type="presParOf" srcId="{3C478B6D-AD22-45ED-BCE2-FB96BCB1D747}" destId="{19E3ECC6-EB09-4418-8FCB-4E633F2488C3}" srcOrd="0" destOrd="0" presId="urn:microsoft.com/office/officeart/2005/8/layout/default#1"/>
    <dgm:cxn modelId="{B48BC80B-D1E6-CE4B-A4D4-D95A4BD0D3F1}" type="presParOf" srcId="{3C478B6D-AD22-45ED-BCE2-FB96BCB1D747}" destId="{E6243280-2DA1-436E-BBD3-0851F44A23D7}" srcOrd="1" destOrd="0" presId="urn:microsoft.com/office/officeart/2005/8/layout/default#1"/>
    <dgm:cxn modelId="{5D83EE5A-423E-2244-AED7-2549DC015602}" type="presParOf" srcId="{3C478B6D-AD22-45ED-BCE2-FB96BCB1D747}" destId="{B975A6A9-AA78-4FF3-9D21-8C60920DE693}" srcOrd="2" destOrd="0" presId="urn:microsoft.com/office/officeart/2005/8/layout/default#1"/>
    <dgm:cxn modelId="{6229FEA5-9084-AF4D-A78F-FFA8632FECA5}" type="presParOf" srcId="{3C478B6D-AD22-45ED-BCE2-FB96BCB1D747}" destId="{D5F930B7-AC55-4A4C-A2C6-7491D2EE1218}" srcOrd="3" destOrd="0" presId="urn:microsoft.com/office/officeart/2005/8/layout/default#1"/>
    <dgm:cxn modelId="{4E84423B-5D94-484C-9599-460C322F65F1}" type="presParOf" srcId="{3C478B6D-AD22-45ED-BCE2-FB96BCB1D747}" destId="{2FC67792-45B0-49E0-8D50-E95BF538EF9D}" srcOrd="4" destOrd="0" presId="urn:microsoft.com/office/officeart/2005/8/layout/default#1"/>
    <dgm:cxn modelId="{4D8D082C-885C-B448-A26F-C768BB2C9518}" type="presParOf" srcId="{3C478B6D-AD22-45ED-BCE2-FB96BCB1D747}" destId="{CAF2EC2F-9D47-47E9-A1FD-E7937DAF9E9D}" srcOrd="5" destOrd="0" presId="urn:microsoft.com/office/officeart/2005/8/layout/default#1"/>
    <dgm:cxn modelId="{57B53708-C727-C24C-8C6B-E2C91FA0985B}" type="presParOf" srcId="{3C478B6D-AD22-45ED-BCE2-FB96BCB1D747}" destId="{2D7EFDCC-2889-4F39-8BB1-942B67E06B2C}" srcOrd="6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F4F8601-757A-4008-817C-880969333201}" type="doc">
      <dgm:prSet loTypeId="urn:microsoft.com/office/officeart/2005/8/layout/default#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B5086DC-C5E5-4B70-9002-BF4CE4586F06}">
      <dgm:prSet phldrT="[文本]" custT="1"/>
      <dgm:spPr>
        <a:solidFill>
          <a:srgbClr val="2932E1"/>
        </a:solidFill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迭代目标</a:t>
          </a:r>
        </a:p>
      </dgm:t>
    </dgm:pt>
    <dgm:pt modelId="{861391A6-9FF8-452B-ABDE-21F5AC7F89B3}" type="parTrans" cxnId="{FB713341-BE38-44D4-9AA8-A8C044ECAADC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658D9DE-F5C7-40D5-9376-CEE727CC09EC}" type="sibTrans" cxnId="{FB713341-BE38-44D4-9AA8-A8C044ECAADC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AE4C1CC-1552-48D0-ACAB-1CFA94EB29A9}">
      <dgm:prSet phldrT="[文本]" custT="1"/>
      <dgm:spPr>
        <a:solidFill>
          <a:srgbClr val="2932E1"/>
        </a:solidFill>
      </dgm:spPr>
      <dgm:t>
        <a:bodyPr/>
        <a:lstStyle/>
        <a:p>
          <a:r>
            <a: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Sprint Backlog</a:t>
          </a:r>
          <a:endParaRPr lang="zh-CN" altLang="en-US" sz="1200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3555877-B586-4105-87AB-A7723ADD4272}" type="parTrans" cxnId="{E6B95B5E-8AEC-4D74-94AF-CF1AAE33CA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36EDF5D-19A1-44EA-8682-135F1E046035}" type="sibTrans" cxnId="{E6B95B5E-8AEC-4D74-94AF-CF1AAE33CA21}">
      <dgm:prSet/>
      <dgm:spPr/>
      <dgm:t>
        <a:bodyPr/>
        <a:lstStyle/>
        <a:p>
          <a:endParaRPr lang="zh-CN" altLang="en-US" sz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BB04780-DC8A-40EB-9D44-BA04663433CA}" type="pres">
      <dgm:prSet presAssocID="{0F4F8601-757A-4008-817C-880969333201}" presName="diagram" presStyleCnt="0">
        <dgm:presLayoutVars>
          <dgm:dir/>
          <dgm:resizeHandles val="exact"/>
        </dgm:presLayoutVars>
      </dgm:prSet>
      <dgm:spPr/>
    </dgm:pt>
    <dgm:pt modelId="{3357B784-CCAF-4834-90E2-00D4CECD27E0}" type="pres">
      <dgm:prSet presAssocID="{7B5086DC-C5E5-4B70-9002-BF4CE4586F06}" presName="node" presStyleLbl="node1" presStyleIdx="0" presStyleCnt="2" custLinFactNeighborX="-20964" custLinFactNeighborY="-1272">
        <dgm:presLayoutVars>
          <dgm:bulletEnabled val="1"/>
        </dgm:presLayoutVars>
      </dgm:prSet>
      <dgm:spPr/>
    </dgm:pt>
    <dgm:pt modelId="{41C822C9-38F4-4630-BD8D-4E4079EBD41B}" type="pres">
      <dgm:prSet presAssocID="{6658D9DE-F5C7-40D5-9376-CEE727CC09EC}" presName="sibTrans" presStyleCnt="0"/>
      <dgm:spPr/>
    </dgm:pt>
    <dgm:pt modelId="{F075F55E-FFDF-4223-83F1-99D648BA7181}" type="pres">
      <dgm:prSet presAssocID="{8AE4C1CC-1552-48D0-ACAB-1CFA94EB29A9}" presName="node" presStyleLbl="node1" presStyleIdx="1" presStyleCnt="2">
        <dgm:presLayoutVars>
          <dgm:bulletEnabled val="1"/>
        </dgm:presLayoutVars>
      </dgm:prSet>
      <dgm:spPr/>
    </dgm:pt>
  </dgm:ptLst>
  <dgm:cxnLst>
    <dgm:cxn modelId="{B3B7C120-7CB0-9947-9642-61F6FC84021A}" type="presOf" srcId="{8AE4C1CC-1552-48D0-ACAB-1CFA94EB29A9}" destId="{F075F55E-FFDF-4223-83F1-99D648BA7181}" srcOrd="0" destOrd="0" presId="urn:microsoft.com/office/officeart/2005/8/layout/default#2"/>
    <dgm:cxn modelId="{FB713341-BE38-44D4-9AA8-A8C044ECAADC}" srcId="{0F4F8601-757A-4008-817C-880969333201}" destId="{7B5086DC-C5E5-4B70-9002-BF4CE4586F06}" srcOrd="0" destOrd="0" parTransId="{861391A6-9FF8-452B-ABDE-21F5AC7F89B3}" sibTransId="{6658D9DE-F5C7-40D5-9376-CEE727CC09EC}"/>
    <dgm:cxn modelId="{E6B95B5E-8AEC-4D74-94AF-CF1AAE33CA21}" srcId="{0F4F8601-757A-4008-817C-880969333201}" destId="{8AE4C1CC-1552-48D0-ACAB-1CFA94EB29A9}" srcOrd="1" destOrd="0" parTransId="{93555877-B586-4105-87AB-A7723ADD4272}" sibTransId="{336EDF5D-19A1-44EA-8682-135F1E046035}"/>
    <dgm:cxn modelId="{AA5F1D8D-7D0F-1D40-A48C-DAE1CB01850C}" type="presOf" srcId="{0F4F8601-757A-4008-817C-880969333201}" destId="{5BB04780-DC8A-40EB-9D44-BA04663433CA}" srcOrd="0" destOrd="0" presId="urn:microsoft.com/office/officeart/2005/8/layout/default#2"/>
    <dgm:cxn modelId="{572BDCF8-6279-374E-95EA-858072DB55E8}" type="presOf" srcId="{7B5086DC-C5E5-4B70-9002-BF4CE4586F06}" destId="{3357B784-CCAF-4834-90E2-00D4CECD27E0}" srcOrd="0" destOrd="0" presId="urn:microsoft.com/office/officeart/2005/8/layout/default#2"/>
    <dgm:cxn modelId="{03C03ABD-9E06-C347-AE4C-653E9325EA23}" type="presParOf" srcId="{5BB04780-DC8A-40EB-9D44-BA04663433CA}" destId="{3357B784-CCAF-4834-90E2-00D4CECD27E0}" srcOrd="0" destOrd="0" presId="urn:microsoft.com/office/officeart/2005/8/layout/default#2"/>
    <dgm:cxn modelId="{2317DE0C-53BB-C643-AC30-FDE11CE30D1B}" type="presParOf" srcId="{5BB04780-DC8A-40EB-9D44-BA04663433CA}" destId="{41C822C9-38F4-4630-BD8D-4E4079EBD41B}" srcOrd="1" destOrd="0" presId="urn:microsoft.com/office/officeart/2005/8/layout/default#2"/>
    <dgm:cxn modelId="{13B098E1-7FAE-1B41-B437-336D451E7C24}" type="presParOf" srcId="{5BB04780-DC8A-40EB-9D44-BA04663433CA}" destId="{F075F55E-FFDF-4223-83F1-99D648BA7181}" srcOrd="2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DF5F20E-AD77-44B9-AD55-6863851FFC0B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2542D38D-B426-41C8-9FA7-10D3E2B978F9}">
      <dgm:prSet phldrT="[文本]" custT="1"/>
      <dgm:spPr/>
      <dgm:t>
        <a:bodyPr/>
        <a:lstStyle/>
        <a:p>
          <a:r>
            <a: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rPr>
            <a:t>Showcase</a:t>
          </a:r>
          <a:r>
            <a:rPr lang="zh-CN" altLang="en-US" sz="1400" b="1" dirty="0">
              <a:latin typeface="Microsoft YaHei" panose="020B0503020204020204" pitchFamily="34" charset="-122"/>
              <a:ea typeface="Microsoft YaHei" panose="020B0503020204020204" pitchFamily="34" charset="-122"/>
            </a:rPr>
            <a:t>执行方式</a:t>
          </a:r>
        </a:p>
      </dgm:t>
    </dgm:pt>
    <dgm:pt modelId="{019CA33C-592E-4DE7-88D7-C89C5443D972}" type="parTrans" cxnId="{79C090D1-74EC-4242-A66A-F37E33D50741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98E25FB8-9080-4A00-A38C-F2E05B503348}" type="sibTrans" cxnId="{79C090D1-74EC-4242-A66A-F37E33D50741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0961635-F8D4-4DE9-97B3-E50D202095AA}">
      <dgm:prSet phldrT="[文本]" custT="1"/>
      <dgm:spPr/>
      <dgm:t>
        <a:bodyPr/>
        <a:lstStyle/>
        <a:p>
          <a:r>
            <a:rPr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rPr>
            <a:t>总结或概要说明迭代目标中哪些完成了、哪些没有完成</a:t>
          </a:r>
        </a:p>
      </dgm:t>
    </dgm:pt>
    <dgm:pt modelId="{D1C4E145-F7D5-41F7-9898-08D46F3C7889}" type="parTrans" cxnId="{2A4F87DD-177E-4420-8CA9-D4E47111E0AB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E4B4841-2A4C-4CEE-A6B9-3687ECCFA491}" type="sibTrans" cxnId="{2A4F87DD-177E-4420-8CA9-D4E47111E0AB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1A5460D-6A6A-494F-BA72-C458C68B2C50}">
      <dgm:prSet phldrT="[文本]" custT="1"/>
      <dgm:spPr/>
      <dgm:t>
        <a:bodyPr/>
        <a:lstStyle/>
        <a:p>
          <a:r>
            <a:rPr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rPr>
            <a:t>演示潜在可发布产品增量</a:t>
          </a:r>
        </a:p>
      </dgm:t>
    </dgm:pt>
    <dgm:pt modelId="{C1F1FD1F-E681-4137-AC0E-D8B054371683}" type="parTrans" cxnId="{0AA04F4C-77C9-4038-9786-0297B7B05580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F1021CC5-3AF4-4596-950F-D91F85E9BD37}" type="sibTrans" cxnId="{0AA04F4C-77C9-4038-9786-0297B7B05580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D2377BC-FE09-4BCF-95D6-226002BFB1BC}">
      <dgm:prSet phldrT="[文本]" custT="1"/>
      <dgm:spPr/>
      <dgm:t>
        <a:bodyPr/>
        <a:lstStyle/>
        <a:p>
          <a:r>
            <a:rPr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rPr>
            <a:t>讨论产品当前状态</a:t>
          </a:r>
        </a:p>
      </dgm:t>
    </dgm:pt>
    <dgm:pt modelId="{900920CC-4A73-4C75-B3F0-D44E8EAA5FFD}" type="parTrans" cxnId="{3207510F-23FD-4500-984B-BA11E7AB4DAC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E596C7F-B803-48CB-A880-D7379D755249}" type="sibTrans" cxnId="{3207510F-23FD-4500-984B-BA11E7AB4DAC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603F2BF-8A24-4174-B625-B2933791FF0E}">
      <dgm:prSet phldrT="[文本]" custT="1"/>
      <dgm:spPr/>
      <dgm:t>
        <a:bodyPr/>
        <a:lstStyle/>
        <a:p>
          <a:r>
            <a:rPr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rPr>
            <a:t>调整产品未来方向</a:t>
          </a:r>
        </a:p>
      </dgm:t>
    </dgm:pt>
    <dgm:pt modelId="{C58001AD-F871-4586-A9E9-23ABB17E7441}" type="parTrans" cxnId="{575F7BD2-7012-4DC0-9994-329266E94304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C439BF1-55B6-4894-9F17-C141D5D81D58}" type="sibTrans" cxnId="{575F7BD2-7012-4DC0-9994-329266E94304}">
      <dgm:prSet/>
      <dgm:spPr/>
      <dgm:t>
        <a:bodyPr/>
        <a:lstStyle/>
        <a:p>
          <a:endParaRPr lang="zh-CN" altLang="en-US" sz="140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7CC150C-5AEB-4E1B-9F7A-79BE27736ED9}" type="pres">
      <dgm:prSet presAssocID="{DDF5F20E-AD77-44B9-AD55-6863851FFC0B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1B6A48F-82F6-4023-8A93-B2403A5AC64E}" type="pres">
      <dgm:prSet presAssocID="{DDF5F20E-AD77-44B9-AD55-6863851FFC0B}" presName="matrix" presStyleCnt="0"/>
      <dgm:spPr/>
    </dgm:pt>
    <dgm:pt modelId="{0F1E9364-54AA-4714-A51D-1EB8D8B195CD}" type="pres">
      <dgm:prSet presAssocID="{DDF5F20E-AD77-44B9-AD55-6863851FFC0B}" presName="tile1" presStyleLbl="node1" presStyleIdx="0" presStyleCnt="4"/>
      <dgm:spPr/>
    </dgm:pt>
    <dgm:pt modelId="{4C20E4D9-2C4A-44AE-B090-71A2F1CA7B29}" type="pres">
      <dgm:prSet presAssocID="{DDF5F20E-AD77-44B9-AD55-6863851FFC0B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71DCB23-A5A2-44A9-AD28-DEB86FD8FC3B}" type="pres">
      <dgm:prSet presAssocID="{DDF5F20E-AD77-44B9-AD55-6863851FFC0B}" presName="tile2" presStyleLbl="node1" presStyleIdx="1" presStyleCnt="4"/>
      <dgm:spPr/>
    </dgm:pt>
    <dgm:pt modelId="{E0537292-A24A-416C-8971-2C0F48F6A00C}" type="pres">
      <dgm:prSet presAssocID="{DDF5F20E-AD77-44B9-AD55-6863851FFC0B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10CB24F8-92BC-4F1B-B65C-4DD47C31D58F}" type="pres">
      <dgm:prSet presAssocID="{DDF5F20E-AD77-44B9-AD55-6863851FFC0B}" presName="tile3" presStyleLbl="node1" presStyleIdx="2" presStyleCnt="4"/>
      <dgm:spPr/>
    </dgm:pt>
    <dgm:pt modelId="{974756A0-F01C-4C56-9620-4A3BEBD1C916}" type="pres">
      <dgm:prSet presAssocID="{DDF5F20E-AD77-44B9-AD55-6863851FFC0B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5185CB3-C4C7-450D-AF66-056D7518180C}" type="pres">
      <dgm:prSet presAssocID="{DDF5F20E-AD77-44B9-AD55-6863851FFC0B}" presName="tile4" presStyleLbl="node1" presStyleIdx="3" presStyleCnt="4"/>
      <dgm:spPr/>
    </dgm:pt>
    <dgm:pt modelId="{E638B50D-50B2-4B58-A7F1-8C69353147F3}" type="pres">
      <dgm:prSet presAssocID="{DDF5F20E-AD77-44B9-AD55-6863851FFC0B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62C56F6D-E4DE-47AE-B8BD-63B034245326}" type="pres">
      <dgm:prSet presAssocID="{DDF5F20E-AD77-44B9-AD55-6863851FFC0B}" presName="centerTile" presStyleLbl="fgShp" presStyleIdx="0" presStyleCnt="1" custScaleX="136730" custScaleY="101343">
        <dgm:presLayoutVars>
          <dgm:chMax val="0"/>
          <dgm:chPref val="0"/>
        </dgm:presLayoutVars>
      </dgm:prSet>
      <dgm:spPr/>
    </dgm:pt>
  </dgm:ptLst>
  <dgm:cxnLst>
    <dgm:cxn modelId="{89C89007-07D0-7C48-AF9B-FF64E1802AED}" type="presOf" srcId="{40961635-F8D4-4DE9-97B3-E50D202095AA}" destId="{4C20E4D9-2C4A-44AE-B090-71A2F1CA7B29}" srcOrd="1" destOrd="0" presId="urn:microsoft.com/office/officeart/2005/8/layout/matrix1"/>
    <dgm:cxn modelId="{3207510F-23FD-4500-984B-BA11E7AB4DAC}" srcId="{2542D38D-B426-41C8-9FA7-10D3E2B978F9}" destId="{5D2377BC-FE09-4BCF-95D6-226002BFB1BC}" srcOrd="2" destOrd="0" parTransId="{900920CC-4A73-4C75-B3F0-D44E8EAA5FFD}" sibTransId="{7E596C7F-B803-48CB-A880-D7379D755249}"/>
    <dgm:cxn modelId="{EE7B3125-8E83-014F-8CBE-C936E1FF98B0}" type="presOf" srcId="{5D2377BC-FE09-4BCF-95D6-226002BFB1BC}" destId="{10CB24F8-92BC-4F1B-B65C-4DD47C31D58F}" srcOrd="0" destOrd="0" presId="urn:microsoft.com/office/officeart/2005/8/layout/matrix1"/>
    <dgm:cxn modelId="{57EA9C42-F6FF-D445-B7E5-EA7FA7557606}" type="presOf" srcId="{01A5460D-6A6A-494F-BA72-C458C68B2C50}" destId="{E0537292-A24A-416C-8971-2C0F48F6A00C}" srcOrd="1" destOrd="0" presId="urn:microsoft.com/office/officeart/2005/8/layout/matrix1"/>
    <dgm:cxn modelId="{0AA04F4C-77C9-4038-9786-0297B7B05580}" srcId="{2542D38D-B426-41C8-9FA7-10D3E2B978F9}" destId="{01A5460D-6A6A-494F-BA72-C458C68B2C50}" srcOrd="1" destOrd="0" parTransId="{C1F1FD1F-E681-4137-AC0E-D8B054371683}" sibTransId="{F1021CC5-3AF4-4596-950F-D91F85E9BD37}"/>
    <dgm:cxn modelId="{B2526357-1BC4-AE4D-9391-536CA471D00D}" type="presOf" srcId="{DDF5F20E-AD77-44B9-AD55-6863851FFC0B}" destId="{B7CC150C-5AEB-4E1B-9F7A-79BE27736ED9}" srcOrd="0" destOrd="0" presId="urn:microsoft.com/office/officeart/2005/8/layout/matrix1"/>
    <dgm:cxn modelId="{4BF39162-FCCC-074E-9AC8-15F2DBE122FE}" type="presOf" srcId="{4603F2BF-8A24-4174-B625-B2933791FF0E}" destId="{E638B50D-50B2-4B58-A7F1-8C69353147F3}" srcOrd="1" destOrd="0" presId="urn:microsoft.com/office/officeart/2005/8/layout/matrix1"/>
    <dgm:cxn modelId="{A3461773-1B14-0A43-831E-D59060216B61}" type="presOf" srcId="{2542D38D-B426-41C8-9FA7-10D3E2B978F9}" destId="{62C56F6D-E4DE-47AE-B8BD-63B034245326}" srcOrd="0" destOrd="0" presId="urn:microsoft.com/office/officeart/2005/8/layout/matrix1"/>
    <dgm:cxn modelId="{E2BB809F-F483-E643-9828-A8308C6C08A8}" type="presOf" srcId="{01A5460D-6A6A-494F-BA72-C458C68B2C50}" destId="{771DCB23-A5A2-44A9-AD28-DEB86FD8FC3B}" srcOrd="0" destOrd="0" presId="urn:microsoft.com/office/officeart/2005/8/layout/matrix1"/>
    <dgm:cxn modelId="{433251B2-D4E9-624E-8ECA-1D1C943B4783}" type="presOf" srcId="{5D2377BC-FE09-4BCF-95D6-226002BFB1BC}" destId="{974756A0-F01C-4C56-9620-4A3BEBD1C916}" srcOrd="1" destOrd="0" presId="urn:microsoft.com/office/officeart/2005/8/layout/matrix1"/>
    <dgm:cxn modelId="{2FB040D0-ADAD-4E4A-9E2E-FC61F60CA898}" type="presOf" srcId="{40961635-F8D4-4DE9-97B3-E50D202095AA}" destId="{0F1E9364-54AA-4714-A51D-1EB8D8B195CD}" srcOrd="0" destOrd="0" presId="urn:microsoft.com/office/officeart/2005/8/layout/matrix1"/>
    <dgm:cxn modelId="{79C090D1-74EC-4242-A66A-F37E33D50741}" srcId="{DDF5F20E-AD77-44B9-AD55-6863851FFC0B}" destId="{2542D38D-B426-41C8-9FA7-10D3E2B978F9}" srcOrd="0" destOrd="0" parTransId="{019CA33C-592E-4DE7-88D7-C89C5443D972}" sibTransId="{98E25FB8-9080-4A00-A38C-F2E05B503348}"/>
    <dgm:cxn modelId="{575F7BD2-7012-4DC0-9994-329266E94304}" srcId="{2542D38D-B426-41C8-9FA7-10D3E2B978F9}" destId="{4603F2BF-8A24-4174-B625-B2933791FF0E}" srcOrd="3" destOrd="0" parTransId="{C58001AD-F871-4586-A9E9-23ABB17E7441}" sibTransId="{4C439BF1-55B6-4894-9F17-C141D5D81D58}"/>
    <dgm:cxn modelId="{2A4F87DD-177E-4420-8CA9-D4E47111E0AB}" srcId="{2542D38D-B426-41C8-9FA7-10D3E2B978F9}" destId="{40961635-F8D4-4DE9-97B3-E50D202095AA}" srcOrd="0" destOrd="0" parTransId="{D1C4E145-F7D5-41F7-9898-08D46F3C7889}" sibTransId="{0E4B4841-2A4C-4CEE-A6B9-3687ECCFA491}"/>
    <dgm:cxn modelId="{2BF606F2-B2C0-D840-B577-90C33F314C5A}" type="presOf" srcId="{4603F2BF-8A24-4174-B625-B2933791FF0E}" destId="{25185CB3-C4C7-450D-AF66-056D7518180C}" srcOrd="0" destOrd="0" presId="urn:microsoft.com/office/officeart/2005/8/layout/matrix1"/>
    <dgm:cxn modelId="{D13C1984-3774-B042-B6DC-F8BCF7478B44}" type="presParOf" srcId="{B7CC150C-5AEB-4E1B-9F7A-79BE27736ED9}" destId="{91B6A48F-82F6-4023-8A93-B2403A5AC64E}" srcOrd="0" destOrd="0" presId="urn:microsoft.com/office/officeart/2005/8/layout/matrix1"/>
    <dgm:cxn modelId="{1B3A17A2-3D4E-574E-BAAD-8F5A3B5A5353}" type="presParOf" srcId="{91B6A48F-82F6-4023-8A93-B2403A5AC64E}" destId="{0F1E9364-54AA-4714-A51D-1EB8D8B195CD}" srcOrd="0" destOrd="0" presId="urn:microsoft.com/office/officeart/2005/8/layout/matrix1"/>
    <dgm:cxn modelId="{85A325CD-8881-7944-842E-8652CE918088}" type="presParOf" srcId="{91B6A48F-82F6-4023-8A93-B2403A5AC64E}" destId="{4C20E4D9-2C4A-44AE-B090-71A2F1CA7B29}" srcOrd="1" destOrd="0" presId="urn:microsoft.com/office/officeart/2005/8/layout/matrix1"/>
    <dgm:cxn modelId="{B3BDCD78-854A-1347-9480-7F412A9CDFDC}" type="presParOf" srcId="{91B6A48F-82F6-4023-8A93-B2403A5AC64E}" destId="{771DCB23-A5A2-44A9-AD28-DEB86FD8FC3B}" srcOrd="2" destOrd="0" presId="urn:microsoft.com/office/officeart/2005/8/layout/matrix1"/>
    <dgm:cxn modelId="{0A765E76-A63C-5E4F-AE93-623FC781046D}" type="presParOf" srcId="{91B6A48F-82F6-4023-8A93-B2403A5AC64E}" destId="{E0537292-A24A-416C-8971-2C0F48F6A00C}" srcOrd="3" destOrd="0" presId="urn:microsoft.com/office/officeart/2005/8/layout/matrix1"/>
    <dgm:cxn modelId="{770334BC-955C-8944-AF52-E05127F73C2B}" type="presParOf" srcId="{91B6A48F-82F6-4023-8A93-B2403A5AC64E}" destId="{10CB24F8-92BC-4F1B-B65C-4DD47C31D58F}" srcOrd="4" destOrd="0" presId="urn:microsoft.com/office/officeart/2005/8/layout/matrix1"/>
    <dgm:cxn modelId="{A6E5C574-6B0D-8D4A-867A-69D0454E1552}" type="presParOf" srcId="{91B6A48F-82F6-4023-8A93-B2403A5AC64E}" destId="{974756A0-F01C-4C56-9620-4A3BEBD1C916}" srcOrd="5" destOrd="0" presId="urn:microsoft.com/office/officeart/2005/8/layout/matrix1"/>
    <dgm:cxn modelId="{163C3313-39FB-CD44-8162-A113081BB259}" type="presParOf" srcId="{91B6A48F-82F6-4023-8A93-B2403A5AC64E}" destId="{25185CB3-C4C7-450D-AF66-056D7518180C}" srcOrd="6" destOrd="0" presId="urn:microsoft.com/office/officeart/2005/8/layout/matrix1"/>
    <dgm:cxn modelId="{E44C6777-DF95-0A44-917F-2EB37C6FDD71}" type="presParOf" srcId="{91B6A48F-82F6-4023-8A93-B2403A5AC64E}" destId="{E638B50D-50B2-4B58-A7F1-8C69353147F3}" srcOrd="7" destOrd="0" presId="urn:microsoft.com/office/officeart/2005/8/layout/matrix1"/>
    <dgm:cxn modelId="{BC500C10-A748-EB4F-A6F2-562BB67AC381}" type="presParOf" srcId="{B7CC150C-5AEB-4E1B-9F7A-79BE27736ED9}" destId="{62C56F6D-E4DE-47AE-B8BD-63B03424532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C49096-D3A9-4DAD-8C6B-C88E4A7796E3}">
      <dsp:nvSpPr>
        <dsp:cNvPr id="0" name=""/>
        <dsp:cNvSpPr/>
      </dsp:nvSpPr>
      <dsp:spPr>
        <a:xfrm>
          <a:off x="616" y="223656"/>
          <a:ext cx="1314366" cy="78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lumMod val="110000"/>
                <a:satMod val="105000"/>
                <a:tint val="67000"/>
              </a:schemeClr>
            </a:gs>
            <a:gs pos="50000">
              <a:schemeClr val="accent3">
                <a:lumMod val="105000"/>
                <a:satMod val="103000"/>
                <a:tint val="73000"/>
              </a:schemeClr>
            </a:gs>
            <a:gs pos="100000">
              <a:schemeClr val="accent3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b="1" kern="1200" dirty="0">
              <a:latin typeface="微软雅黑" pitchFamily="34" charset="-122"/>
              <a:ea typeface="微软雅黑" pitchFamily="34" charset="-122"/>
            </a:rPr>
            <a:t>需求</a:t>
          </a:r>
        </a:p>
      </dsp:txBody>
      <dsp:txXfrm>
        <a:off x="23714" y="246754"/>
        <a:ext cx="1268170" cy="742423"/>
      </dsp:txXfrm>
    </dsp:sp>
    <dsp:sp modelId="{DB42E419-36FA-47B8-B398-39F4DEEB4F0A}">
      <dsp:nvSpPr>
        <dsp:cNvPr id="0" name=""/>
        <dsp:cNvSpPr/>
      </dsp:nvSpPr>
      <dsp:spPr>
        <a:xfrm>
          <a:off x="1430646" y="454985"/>
          <a:ext cx="278645" cy="3259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>
        <a:off x="1430646" y="520177"/>
        <a:ext cx="195052" cy="195578"/>
      </dsp:txXfrm>
    </dsp:sp>
    <dsp:sp modelId="{54D51531-EFDC-44F5-B6A9-D8A469BDEA38}">
      <dsp:nvSpPr>
        <dsp:cNvPr id="0" name=""/>
        <dsp:cNvSpPr/>
      </dsp:nvSpPr>
      <dsp:spPr>
        <a:xfrm>
          <a:off x="1840729" y="223656"/>
          <a:ext cx="1314366" cy="78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b="1" kern="1200" dirty="0">
              <a:latin typeface="微软雅黑" pitchFamily="34" charset="-122"/>
              <a:ea typeface="微软雅黑" pitchFamily="34" charset="-122"/>
            </a:rPr>
            <a:t>设计</a:t>
          </a:r>
          <a:r>
            <a:rPr lang="en-US" altLang="zh-CN" sz="1800" b="1" kern="1200" dirty="0">
              <a:latin typeface="微软雅黑" pitchFamily="34" charset="-122"/>
              <a:ea typeface="微软雅黑" pitchFamily="34" charset="-122"/>
            </a:rPr>
            <a:t>&amp;</a:t>
          </a:r>
          <a:r>
            <a:rPr lang="zh-CN" altLang="en-US" sz="1800" b="1" kern="1200" dirty="0">
              <a:latin typeface="微软雅黑" pitchFamily="34" charset="-122"/>
              <a:ea typeface="微软雅黑" pitchFamily="34" charset="-122"/>
            </a:rPr>
            <a:t>开发</a:t>
          </a:r>
        </a:p>
      </dsp:txBody>
      <dsp:txXfrm>
        <a:off x="1863827" y="246754"/>
        <a:ext cx="1268170" cy="742423"/>
      </dsp:txXfrm>
    </dsp:sp>
    <dsp:sp modelId="{4CF1376C-2D38-4663-8360-44BBA7432C53}">
      <dsp:nvSpPr>
        <dsp:cNvPr id="0" name=""/>
        <dsp:cNvSpPr/>
      </dsp:nvSpPr>
      <dsp:spPr>
        <a:xfrm rot="5400000">
          <a:off x="2358589" y="1104282"/>
          <a:ext cx="278645" cy="3259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 rot="-5400000">
        <a:off x="2400123" y="1127941"/>
        <a:ext cx="195578" cy="195052"/>
      </dsp:txXfrm>
    </dsp:sp>
    <dsp:sp modelId="{1DD53DCF-A1E9-4751-857B-6AF97E662E9F}">
      <dsp:nvSpPr>
        <dsp:cNvPr id="0" name=""/>
        <dsp:cNvSpPr/>
      </dsp:nvSpPr>
      <dsp:spPr>
        <a:xfrm>
          <a:off x="1840729" y="1538023"/>
          <a:ext cx="1314366" cy="78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lumMod val="110000"/>
                <a:satMod val="105000"/>
                <a:tint val="67000"/>
              </a:schemeClr>
            </a:gs>
            <a:gs pos="50000">
              <a:schemeClr val="accent2">
                <a:lumMod val="105000"/>
                <a:satMod val="103000"/>
                <a:tint val="73000"/>
              </a:schemeClr>
            </a:gs>
            <a:gs pos="100000">
              <a:schemeClr val="accent2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2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b="1" kern="1200" dirty="0">
              <a:latin typeface="微软雅黑" pitchFamily="34" charset="-122"/>
              <a:ea typeface="微软雅黑" pitchFamily="34" charset="-122"/>
            </a:rPr>
            <a:t>测试</a:t>
          </a:r>
        </a:p>
      </dsp:txBody>
      <dsp:txXfrm>
        <a:off x="1863827" y="1561121"/>
        <a:ext cx="1268170" cy="742423"/>
      </dsp:txXfrm>
    </dsp:sp>
    <dsp:sp modelId="{9B89744A-8E3A-47E1-8272-071E96C49A48}">
      <dsp:nvSpPr>
        <dsp:cNvPr id="0" name=""/>
        <dsp:cNvSpPr/>
      </dsp:nvSpPr>
      <dsp:spPr>
        <a:xfrm rot="10800000">
          <a:off x="1446419" y="1769351"/>
          <a:ext cx="278645" cy="3259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 rot="10800000">
        <a:off x="1530012" y="1834543"/>
        <a:ext cx="195052" cy="195578"/>
      </dsp:txXfrm>
    </dsp:sp>
    <dsp:sp modelId="{9FF08FB5-62B0-4E2E-ACA9-E2007CC81622}">
      <dsp:nvSpPr>
        <dsp:cNvPr id="0" name=""/>
        <dsp:cNvSpPr/>
      </dsp:nvSpPr>
      <dsp:spPr>
        <a:xfrm>
          <a:off x="616" y="1538023"/>
          <a:ext cx="1314366" cy="78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800" b="1" kern="1200" dirty="0">
              <a:latin typeface="微软雅黑" pitchFamily="34" charset="-122"/>
              <a:ea typeface="微软雅黑" pitchFamily="34" charset="-122"/>
            </a:rPr>
            <a:t>上线</a:t>
          </a:r>
        </a:p>
      </dsp:txBody>
      <dsp:txXfrm>
        <a:off x="23714" y="1561121"/>
        <a:ext cx="1268170" cy="74242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57B784-CCAF-4834-90E2-00D4CECD27E0}">
      <dsp:nvSpPr>
        <dsp:cNvPr id="0" name=""/>
        <dsp:cNvSpPr/>
      </dsp:nvSpPr>
      <dsp:spPr>
        <a:xfrm>
          <a:off x="0" y="0"/>
          <a:ext cx="1191714" cy="715028"/>
        </a:xfrm>
        <a:prstGeom prst="rect">
          <a:avLst/>
        </a:prstGeom>
        <a:solidFill>
          <a:srgbClr val="B1AE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TOP N</a:t>
          </a:r>
          <a:r>
            <a:rPr lang="zh-CN" altLang="en-US" sz="1200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改进措施</a:t>
          </a:r>
        </a:p>
      </dsp:txBody>
      <dsp:txXfrm>
        <a:off x="0" y="0"/>
        <a:ext cx="1191714" cy="715028"/>
      </dsp:txXfrm>
    </dsp:sp>
    <dsp:sp modelId="{F075F55E-FFDF-4223-83F1-99D648BA7181}">
      <dsp:nvSpPr>
        <dsp:cNvPr id="0" name=""/>
        <dsp:cNvSpPr/>
      </dsp:nvSpPr>
      <dsp:spPr>
        <a:xfrm>
          <a:off x="9015" y="834821"/>
          <a:ext cx="1191714" cy="715028"/>
        </a:xfrm>
        <a:prstGeom prst="rect">
          <a:avLst/>
        </a:prstGeom>
        <a:solidFill>
          <a:srgbClr val="B1AE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更紧密的合作氛围</a:t>
          </a:r>
        </a:p>
      </dsp:txBody>
      <dsp:txXfrm>
        <a:off x="9015" y="834821"/>
        <a:ext cx="1191714" cy="71502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57B784-CCAF-4834-90E2-00D4CECD27E0}">
      <dsp:nvSpPr>
        <dsp:cNvPr id="0" name=""/>
        <dsp:cNvSpPr/>
      </dsp:nvSpPr>
      <dsp:spPr>
        <a:xfrm>
          <a:off x="0" y="0"/>
          <a:ext cx="1170567" cy="702340"/>
        </a:xfrm>
        <a:prstGeom prst="rect">
          <a:avLst/>
        </a:prstGeom>
        <a:solidFill>
          <a:srgbClr val="B1AE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主观数据</a:t>
          </a:r>
        </a:p>
      </dsp:txBody>
      <dsp:txXfrm>
        <a:off x="0" y="0"/>
        <a:ext cx="1170567" cy="702340"/>
      </dsp:txXfrm>
    </dsp:sp>
    <dsp:sp modelId="{F075F55E-FFDF-4223-83F1-99D648BA7181}">
      <dsp:nvSpPr>
        <dsp:cNvPr id="0" name=""/>
        <dsp:cNvSpPr/>
      </dsp:nvSpPr>
      <dsp:spPr>
        <a:xfrm>
          <a:off x="17664" y="820019"/>
          <a:ext cx="1170567" cy="702340"/>
        </a:xfrm>
        <a:prstGeom prst="rect">
          <a:avLst/>
        </a:prstGeom>
        <a:solidFill>
          <a:srgbClr val="B1AE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观数据</a:t>
          </a:r>
        </a:p>
      </dsp:txBody>
      <dsp:txXfrm>
        <a:off x="17664" y="820019"/>
        <a:ext cx="1170567" cy="70234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1BF89-108C-474A-97A3-6B729D788C61}">
      <dsp:nvSpPr>
        <dsp:cNvPr id="0" name=""/>
        <dsp:cNvSpPr/>
      </dsp:nvSpPr>
      <dsp:spPr>
        <a:xfrm>
          <a:off x="2991" y="3584"/>
          <a:ext cx="1798915" cy="374400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需求方原因</a:t>
          </a:r>
        </a:p>
      </dsp:txBody>
      <dsp:txXfrm>
        <a:off x="2991" y="3584"/>
        <a:ext cx="1798915" cy="374400"/>
      </dsp:txXfrm>
    </dsp:sp>
    <dsp:sp modelId="{1512CDA6-6D14-1E44-ACD4-462DC92A85A6}">
      <dsp:nvSpPr>
        <dsp:cNvPr id="0" name=""/>
        <dsp:cNvSpPr/>
      </dsp:nvSpPr>
      <dsp:spPr>
        <a:xfrm>
          <a:off x="2991" y="377984"/>
          <a:ext cx="1798915" cy="132592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市场、竞争压力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组织结构、人员因素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沟通问题</a:t>
          </a:r>
        </a:p>
      </dsp:txBody>
      <dsp:txXfrm>
        <a:off x="2991" y="377984"/>
        <a:ext cx="1798915" cy="1325920"/>
      </dsp:txXfrm>
    </dsp:sp>
    <dsp:sp modelId="{4492E4DD-4575-454F-B372-D84498DE67C0}">
      <dsp:nvSpPr>
        <dsp:cNvPr id="0" name=""/>
        <dsp:cNvSpPr/>
      </dsp:nvSpPr>
      <dsp:spPr>
        <a:xfrm>
          <a:off x="2053755" y="3584"/>
          <a:ext cx="1798915" cy="37440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外部因素</a:t>
          </a:r>
        </a:p>
      </dsp:txBody>
      <dsp:txXfrm>
        <a:off x="2053755" y="3584"/>
        <a:ext cx="1798915" cy="374400"/>
      </dsp:txXfrm>
    </dsp:sp>
    <dsp:sp modelId="{B88B82D0-1663-9C4B-AA91-14A237904FEA}">
      <dsp:nvSpPr>
        <dsp:cNvPr id="0" name=""/>
        <dsp:cNvSpPr/>
      </dsp:nvSpPr>
      <dsp:spPr>
        <a:xfrm>
          <a:off x="2053755" y="377984"/>
          <a:ext cx="1798915" cy="132592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市场、竞争压力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新技术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规划调整</a:t>
          </a:r>
        </a:p>
      </dsp:txBody>
      <dsp:txXfrm>
        <a:off x="2053755" y="377984"/>
        <a:ext cx="1798915" cy="1325920"/>
      </dsp:txXfrm>
    </dsp:sp>
    <dsp:sp modelId="{2CF20D30-2500-654F-A40F-4B976F247D6F}">
      <dsp:nvSpPr>
        <dsp:cNvPr id="0" name=""/>
        <dsp:cNvSpPr/>
      </dsp:nvSpPr>
      <dsp:spPr>
        <a:xfrm>
          <a:off x="4104520" y="3584"/>
          <a:ext cx="1798915" cy="374400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内部因素</a:t>
          </a:r>
        </a:p>
      </dsp:txBody>
      <dsp:txXfrm>
        <a:off x="4104520" y="3584"/>
        <a:ext cx="1798915" cy="374400"/>
      </dsp:txXfrm>
    </dsp:sp>
    <dsp:sp modelId="{D44BC1EA-43D0-7546-8944-C58F55B7D472}">
      <dsp:nvSpPr>
        <dsp:cNvPr id="0" name=""/>
        <dsp:cNvSpPr/>
      </dsp:nvSpPr>
      <dsp:spPr>
        <a:xfrm>
          <a:off x="4104520" y="377984"/>
          <a:ext cx="1798915" cy="1325920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时间、人力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目标变化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组织调整</a:t>
          </a:r>
        </a:p>
      </dsp:txBody>
      <dsp:txXfrm>
        <a:off x="4104520" y="377984"/>
        <a:ext cx="1798915" cy="1325920"/>
      </dsp:txXfrm>
    </dsp:sp>
    <dsp:sp modelId="{2FB1863E-40E3-1344-98AB-13BDF691B902}">
      <dsp:nvSpPr>
        <dsp:cNvPr id="0" name=""/>
        <dsp:cNvSpPr/>
      </dsp:nvSpPr>
      <dsp:spPr>
        <a:xfrm>
          <a:off x="6155284" y="3584"/>
          <a:ext cx="1798915" cy="374400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管理问题</a:t>
          </a:r>
        </a:p>
      </dsp:txBody>
      <dsp:txXfrm>
        <a:off x="6155284" y="3584"/>
        <a:ext cx="1798915" cy="374400"/>
      </dsp:txXfrm>
    </dsp:sp>
    <dsp:sp modelId="{CF5CA9A8-0DFB-D643-BBCF-B47E1C9C8AE5}">
      <dsp:nvSpPr>
        <dsp:cNvPr id="0" name=""/>
        <dsp:cNvSpPr/>
      </dsp:nvSpPr>
      <dsp:spPr>
        <a:xfrm>
          <a:off x="6155284" y="377984"/>
          <a:ext cx="1798915" cy="1325920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需求澄清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跟踪</a:t>
          </a:r>
          <a:r>
            <a:rPr lang="zh-CN" altLang="en-US" sz="12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遗漏</a:t>
          </a:r>
          <a:endParaRPr lang="zh-CN" altLang="en-US" sz="1200" kern="1200" dirty="0">
            <a:latin typeface="Microsoft YaHei" panose="020B0503020204020204" pitchFamily="34" charset="-122"/>
            <a:ea typeface="Microsoft YaHei" panose="020B0503020204020204" pitchFamily="34" charset="-122"/>
            <a:cs typeface="Microsoft YaHei" charset="0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设计问题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0"/>
            </a:rPr>
            <a:t>不受控</a:t>
          </a:r>
        </a:p>
      </dsp:txBody>
      <dsp:txXfrm>
        <a:off x="6155284" y="377984"/>
        <a:ext cx="1798915" cy="132592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B237D4-C896-464B-8B66-907E7BC384C0}">
      <dsp:nvSpPr>
        <dsp:cNvPr id="0" name=""/>
        <dsp:cNvSpPr/>
      </dsp:nvSpPr>
      <dsp:spPr>
        <a:xfrm>
          <a:off x="4055" y="88581"/>
          <a:ext cx="1508670" cy="60346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b="1" kern="1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空间配置</a:t>
          </a:r>
        </a:p>
      </dsp:txBody>
      <dsp:txXfrm>
        <a:off x="305789" y="88581"/>
        <a:ext cx="905202" cy="603468"/>
      </dsp:txXfrm>
    </dsp:sp>
    <dsp:sp modelId="{A86E4080-92AD-4939-B332-E07C48764045}">
      <dsp:nvSpPr>
        <dsp:cNvPr id="0" name=""/>
        <dsp:cNvSpPr/>
      </dsp:nvSpPr>
      <dsp:spPr>
        <a:xfrm>
          <a:off x="1361858" y="88581"/>
          <a:ext cx="1508670" cy="60346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b="1" kern="1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产品规划</a:t>
          </a:r>
        </a:p>
      </dsp:txBody>
      <dsp:txXfrm>
        <a:off x="1663592" y="88581"/>
        <a:ext cx="905202" cy="603468"/>
      </dsp:txXfrm>
    </dsp:sp>
    <dsp:sp modelId="{46C46EFF-D58B-4C32-A605-AB030B188E8A}">
      <dsp:nvSpPr>
        <dsp:cNvPr id="0" name=""/>
        <dsp:cNvSpPr/>
      </dsp:nvSpPr>
      <dsp:spPr>
        <a:xfrm>
          <a:off x="2719662" y="88581"/>
          <a:ext cx="1508670" cy="60346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b="1" kern="1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迭代计划</a:t>
          </a:r>
          <a:endParaRPr lang="en-US" altLang="zh-CN" sz="1600" b="1" kern="1200" dirty="0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sp:txBody>
      <dsp:txXfrm>
        <a:off x="3021396" y="88581"/>
        <a:ext cx="905202" cy="603468"/>
      </dsp:txXfrm>
    </dsp:sp>
    <dsp:sp modelId="{53248EB4-CEF6-4177-84FC-8846ABBB4977}">
      <dsp:nvSpPr>
        <dsp:cNvPr id="0" name=""/>
        <dsp:cNvSpPr/>
      </dsp:nvSpPr>
      <dsp:spPr>
        <a:xfrm>
          <a:off x="4077465" y="88581"/>
          <a:ext cx="1508670" cy="60346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b="1" kern="1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迭代执行</a:t>
          </a:r>
        </a:p>
      </dsp:txBody>
      <dsp:txXfrm>
        <a:off x="4379199" y="88581"/>
        <a:ext cx="905202" cy="603468"/>
      </dsp:txXfrm>
    </dsp:sp>
    <dsp:sp modelId="{B980CE8B-C3C6-4D16-BF96-7D51B6888099}">
      <dsp:nvSpPr>
        <dsp:cNvPr id="0" name=""/>
        <dsp:cNvSpPr/>
      </dsp:nvSpPr>
      <dsp:spPr>
        <a:xfrm>
          <a:off x="5435268" y="88581"/>
          <a:ext cx="1508670" cy="60346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b="1" kern="1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showcase</a:t>
          </a:r>
          <a:endParaRPr lang="zh-CN" altLang="en-US" sz="1300" b="1" kern="1200" dirty="0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endParaRPr>
        </a:p>
      </dsp:txBody>
      <dsp:txXfrm>
        <a:off x="5737002" y="88581"/>
        <a:ext cx="905202" cy="603468"/>
      </dsp:txXfrm>
    </dsp:sp>
    <dsp:sp modelId="{ABEC49F3-BDF7-424B-9830-26B6CE2FFD7D}">
      <dsp:nvSpPr>
        <dsp:cNvPr id="0" name=""/>
        <dsp:cNvSpPr/>
      </dsp:nvSpPr>
      <dsp:spPr>
        <a:xfrm>
          <a:off x="6793072" y="88581"/>
          <a:ext cx="1508670" cy="60346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b="1" kern="1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rPr>
            <a:t>回顾</a:t>
          </a:r>
        </a:p>
      </dsp:txBody>
      <dsp:txXfrm>
        <a:off x="7094806" y="88581"/>
        <a:ext cx="905202" cy="60346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5FFA5A-70BF-4942-BDDB-EE01271FAE70}">
      <dsp:nvSpPr>
        <dsp:cNvPr id="0" name=""/>
        <dsp:cNvSpPr/>
      </dsp:nvSpPr>
      <dsp:spPr>
        <a:xfrm>
          <a:off x="944" y="1433402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Epic</a:t>
          </a:r>
          <a:endParaRPr lang="zh-CN" altLang="en-US" sz="1100" kern="1200" dirty="0"/>
        </a:p>
      </dsp:txBody>
      <dsp:txXfrm>
        <a:off x="13110" y="1445568"/>
        <a:ext cx="806393" cy="391030"/>
      </dsp:txXfrm>
    </dsp:sp>
    <dsp:sp modelId="{7C0819C2-8256-F442-B22A-FC5EC0372F14}">
      <dsp:nvSpPr>
        <dsp:cNvPr id="0" name=""/>
        <dsp:cNvSpPr/>
      </dsp:nvSpPr>
      <dsp:spPr>
        <a:xfrm rot="18289469">
          <a:off x="706875" y="1392307"/>
          <a:ext cx="581878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581878" y="99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983267" y="1387703"/>
        <a:ext cx="29093" cy="29093"/>
      </dsp:txXfrm>
    </dsp:sp>
    <dsp:sp modelId="{71374535-BFEF-474F-A4DD-23B92F76F411}">
      <dsp:nvSpPr>
        <dsp:cNvPr id="0" name=""/>
        <dsp:cNvSpPr/>
      </dsp:nvSpPr>
      <dsp:spPr>
        <a:xfrm>
          <a:off x="1163959" y="955735"/>
          <a:ext cx="106201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Feature</a:t>
          </a:r>
          <a:endParaRPr lang="zh-CN" altLang="en-US" sz="1100" kern="1200" dirty="0"/>
        </a:p>
      </dsp:txBody>
      <dsp:txXfrm>
        <a:off x="1176125" y="967901"/>
        <a:ext cx="1037683" cy="391030"/>
      </dsp:txXfrm>
    </dsp:sp>
    <dsp:sp modelId="{F2AB43C2-71CD-9B48-B1F5-06D9982A1E0A}">
      <dsp:nvSpPr>
        <dsp:cNvPr id="0" name=""/>
        <dsp:cNvSpPr/>
      </dsp:nvSpPr>
      <dsp:spPr>
        <a:xfrm rot="19457599">
          <a:off x="2187512" y="1034057"/>
          <a:ext cx="409216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09216" y="99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2381889" y="1033769"/>
        <a:ext cx="20460" cy="20460"/>
      </dsp:txXfrm>
    </dsp:sp>
    <dsp:sp modelId="{C1373B57-5A7D-2843-93B8-F371E11895EF}">
      <dsp:nvSpPr>
        <dsp:cNvPr id="0" name=""/>
        <dsp:cNvSpPr/>
      </dsp:nvSpPr>
      <dsp:spPr>
        <a:xfrm>
          <a:off x="2558265" y="716902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kern="1200" dirty="0"/>
            <a:t>S</a:t>
          </a:r>
          <a:r>
            <a:rPr lang="en-US" altLang="en-US" sz="1100" kern="1200" dirty="0"/>
            <a:t>tory</a:t>
          </a:r>
          <a:endParaRPr lang="zh-CN" altLang="en-US" sz="1100" kern="1200" dirty="0"/>
        </a:p>
      </dsp:txBody>
      <dsp:txXfrm>
        <a:off x="2570431" y="729068"/>
        <a:ext cx="806393" cy="391030"/>
      </dsp:txXfrm>
    </dsp:sp>
    <dsp:sp modelId="{3CBCF565-0D18-AD42-82EA-B3A960420BC5}">
      <dsp:nvSpPr>
        <dsp:cNvPr id="0" name=""/>
        <dsp:cNvSpPr/>
      </dsp:nvSpPr>
      <dsp:spPr>
        <a:xfrm rot="19457599">
          <a:off x="3350527" y="795224"/>
          <a:ext cx="409216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09216" y="99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544905" y="794936"/>
        <a:ext cx="20460" cy="20460"/>
      </dsp:txXfrm>
    </dsp:sp>
    <dsp:sp modelId="{26FC079C-B752-5F41-A856-0CDFF93985DA}">
      <dsp:nvSpPr>
        <dsp:cNvPr id="0" name=""/>
        <dsp:cNvSpPr/>
      </dsp:nvSpPr>
      <dsp:spPr>
        <a:xfrm>
          <a:off x="3721280" y="478068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Task</a:t>
          </a:r>
          <a:endParaRPr lang="zh-CN" altLang="en-US" sz="1100" kern="1200" dirty="0"/>
        </a:p>
      </dsp:txBody>
      <dsp:txXfrm>
        <a:off x="3733446" y="490234"/>
        <a:ext cx="806393" cy="391030"/>
      </dsp:txXfrm>
    </dsp:sp>
    <dsp:sp modelId="{45D9446E-47AB-164D-B4CE-DDD3D5628B69}">
      <dsp:nvSpPr>
        <dsp:cNvPr id="0" name=""/>
        <dsp:cNvSpPr/>
      </dsp:nvSpPr>
      <dsp:spPr>
        <a:xfrm rot="2142401">
          <a:off x="3350527" y="1034057"/>
          <a:ext cx="409216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09216" y="99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544905" y="1033769"/>
        <a:ext cx="20460" cy="20460"/>
      </dsp:txXfrm>
    </dsp:sp>
    <dsp:sp modelId="{2231B17C-F3BC-A748-A254-A4ED44901516}">
      <dsp:nvSpPr>
        <dsp:cNvPr id="0" name=""/>
        <dsp:cNvSpPr/>
      </dsp:nvSpPr>
      <dsp:spPr>
        <a:xfrm>
          <a:off x="3721280" y="955735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/>
            <a:t>Task</a:t>
          </a:r>
          <a:endParaRPr lang="zh-CN" altLang="en-US" sz="1100" kern="1200" dirty="0"/>
        </a:p>
      </dsp:txBody>
      <dsp:txXfrm>
        <a:off x="3733446" y="967901"/>
        <a:ext cx="806393" cy="391030"/>
      </dsp:txXfrm>
    </dsp:sp>
    <dsp:sp modelId="{5DDF439B-EDB3-FC45-A5D8-D245E3308255}">
      <dsp:nvSpPr>
        <dsp:cNvPr id="0" name=""/>
        <dsp:cNvSpPr/>
      </dsp:nvSpPr>
      <dsp:spPr>
        <a:xfrm rot="2142401">
          <a:off x="2187512" y="1272891"/>
          <a:ext cx="409216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09216" y="99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2381889" y="1272603"/>
        <a:ext cx="20460" cy="20460"/>
      </dsp:txXfrm>
    </dsp:sp>
    <dsp:sp modelId="{57D56CF0-C13D-824D-BDFF-7C28028B8B73}">
      <dsp:nvSpPr>
        <dsp:cNvPr id="0" name=""/>
        <dsp:cNvSpPr/>
      </dsp:nvSpPr>
      <dsp:spPr>
        <a:xfrm>
          <a:off x="2558265" y="1194569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kern="1200" dirty="0"/>
            <a:t>S</a:t>
          </a:r>
          <a:r>
            <a:rPr lang="en-US" altLang="en-US" sz="1100" kern="1200" dirty="0"/>
            <a:t>tory</a:t>
          </a:r>
          <a:endParaRPr lang="zh-CN" altLang="en-US" sz="1100" kern="1200" dirty="0"/>
        </a:p>
      </dsp:txBody>
      <dsp:txXfrm>
        <a:off x="2570431" y="1206735"/>
        <a:ext cx="806393" cy="391030"/>
      </dsp:txXfrm>
    </dsp:sp>
    <dsp:sp modelId="{28089231-4519-0843-9903-B6F029E7E658}">
      <dsp:nvSpPr>
        <dsp:cNvPr id="0" name=""/>
        <dsp:cNvSpPr/>
      </dsp:nvSpPr>
      <dsp:spPr>
        <a:xfrm rot="3310531">
          <a:off x="706875" y="1869974"/>
          <a:ext cx="581878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581878" y="99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983267" y="1865370"/>
        <a:ext cx="29093" cy="29093"/>
      </dsp:txXfrm>
    </dsp:sp>
    <dsp:sp modelId="{DBE49202-7EC6-F74D-B2D8-7F411EBF2800}">
      <dsp:nvSpPr>
        <dsp:cNvPr id="0" name=""/>
        <dsp:cNvSpPr/>
      </dsp:nvSpPr>
      <dsp:spPr>
        <a:xfrm>
          <a:off x="1163959" y="1911069"/>
          <a:ext cx="1051241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Tech </a:t>
          </a:r>
          <a:r>
            <a:rPr lang="en-US" altLang="zh-CN" sz="1100" kern="1200" dirty="0"/>
            <a:t>F</a:t>
          </a:r>
          <a:r>
            <a:rPr lang="en-US" altLang="en-US" sz="1100" kern="1200" dirty="0"/>
            <a:t>eature</a:t>
          </a:r>
          <a:endParaRPr lang="zh-CN" altLang="en-US" sz="1100" kern="1200" dirty="0"/>
        </a:p>
      </dsp:txBody>
      <dsp:txXfrm>
        <a:off x="1176125" y="1923235"/>
        <a:ext cx="1026909" cy="391030"/>
      </dsp:txXfrm>
    </dsp:sp>
    <dsp:sp modelId="{232B6F91-FD38-5640-A143-EA3B1A0EBBB7}">
      <dsp:nvSpPr>
        <dsp:cNvPr id="0" name=""/>
        <dsp:cNvSpPr/>
      </dsp:nvSpPr>
      <dsp:spPr>
        <a:xfrm rot="19457599">
          <a:off x="2176737" y="1989391"/>
          <a:ext cx="409216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09216" y="99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2371115" y="1989103"/>
        <a:ext cx="20460" cy="20460"/>
      </dsp:txXfrm>
    </dsp:sp>
    <dsp:sp modelId="{0263A7EF-291D-2F46-9F58-FAFB68A9330C}">
      <dsp:nvSpPr>
        <dsp:cNvPr id="0" name=""/>
        <dsp:cNvSpPr/>
      </dsp:nvSpPr>
      <dsp:spPr>
        <a:xfrm>
          <a:off x="2547490" y="1672236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Tech Task</a:t>
          </a:r>
          <a:endParaRPr lang="zh-CN" altLang="en-US" sz="1100" kern="1200" dirty="0"/>
        </a:p>
      </dsp:txBody>
      <dsp:txXfrm>
        <a:off x="2559656" y="1684402"/>
        <a:ext cx="806393" cy="391030"/>
      </dsp:txXfrm>
    </dsp:sp>
    <dsp:sp modelId="{68C7A2CD-96E1-6F43-9D02-896C0B4D13A2}">
      <dsp:nvSpPr>
        <dsp:cNvPr id="0" name=""/>
        <dsp:cNvSpPr/>
      </dsp:nvSpPr>
      <dsp:spPr>
        <a:xfrm rot="2142401">
          <a:off x="2176737" y="2228225"/>
          <a:ext cx="409216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09216" y="99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2371115" y="2227937"/>
        <a:ext cx="20460" cy="20460"/>
      </dsp:txXfrm>
    </dsp:sp>
    <dsp:sp modelId="{A0C91F8B-8675-4948-8BC8-F0524AB7665E}">
      <dsp:nvSpPr>
        <dsp:cNvPr id="0" name=""/>
        <dsp:cNvSpPr/>
      </dsp:nvSpPr>
      <dsp:spPr>
        <a:xfrm>
          <a:off x="2547490" y="2149903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Tech Task</a:t>
          </a:r>
          <a:endParaRPr lang="zh-CN" altLang="en-US" sz="1100" kern="1200" dirty="0"/>
        </a:p>
      </dsp:txBody>
      <dsp:txXfrm>
        <a:off x="2559656" y="2162069"/>
        <a:ext cx="806393" cy="391030"/>
      </dsp:txXfrm>
    </dsp:sp>
    <dsp:sp modelId="{ADD3AD45-DE0D-664B-B945-83E453C517E6}">
      <dsp:nvSpPr>
        <dsp:cNvPr id="0" name=""/>
        <dsp:cNvSpPr/>
      </dsp:nvSpPr>
      <dsp:spPr>
        <a:xfrm>
          <a:off x="944" y="1911069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Bug</a:t>
          </a:r>
          <a:endParaRPr lang="zh-CN" altLang="en-US" sz="1100" kern="1200" dirty="0"/>
        </a:p>
      </dsp:txBody>
      <dsp:txXfrm>
        <a:off x="13110" y="1923235"/>
        <a:ext cx="806393" cy="391030"/>
      </dsp:txXfrm>
    </dsp:sp>
    <dsp:sp modelId="{578FAC8E-E6D7-F649-BCD8-C6A8DBD3990F}">
      <dsp:nvSpPr>
        <dsp:cNvPr id="0" name=""/>
        <dsp:cNvSpPr/>
      </dsp:nvSpPr>
      <dsp:spPr>
        <a:xfrm>
          <a:off x="944" y="2388736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Bug(线上)</a:t>
          </a:r>
          <a:endParaRPr lang="zh-CN" altLang="en-US" sz="1100" kern="1200" dirty="0"/>
        </a:p>
      </dsp:txBody>
      <dsp:txXfrm>
        <a:off x="13110" y="2400902"/>
        <a:ext cx="806393" cy="391030"/>
      </dsp:txXfrm>
    </dsp:sp>
    <dsp:sp modelId="{85B18AF4-0054-D249-8187-5F16A5F10959}">
      <dsp:nvSpPr>
        <dsp:cNvPr id="0" name=""/>
        <dsp:cNvSpPr/>
      </dsp:nvSpPr>
      <dsp:spPr>
        <a:xfrm>
          <a:off x="944" y="2866403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非研发任务</a:t>
          </a:r>
          <a:endParaRPr lang="zh-CN" altLang="en-US" sz="1100" kern="1200" dirty="0"/>
        </a:p>
      </dsp:txBody>
      <dsp:txXfrm>
        <a:off x="13110" y="2878569"/>
        <a:ext cx="806393" cy="391030"/>
      </dsp:txXfrm>
    </dsp:sp>
    <dsp:sp modelId="{E1038C34-8992-D74A-8274-1845044D8367}">
      <dsp:nvSpPr>
        <dsp:cNvPr id="0" name=""/>
        <dsp:cNvSpPr/>
      </dsp:nvSpPr>
      <dsp:spPr>
        <a:xfrm>
          <a:off x="831669" y="3064142"/>
          <a:ext cx="332290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332290" y="99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989507" y="3065777"/>
        <a:ext cx="16614" cy="16614"/>
      </dsp:txXfrm>
    </dsp:sp>
    <dsp:sp modelId="{9E1DE5F7-72F3-0946-B0C4-366531C5EE55}">
      <dsp:nvSpPr>
        <dsp:cNvPr id="0" name=""/>
        <dsp:cNvSpPr/>
      </dsp:nvSpPr>
      <dsp:spPr>
        <a:xfrm>
          <a:off x="1163959" y="2866403"/>
          <a:ext cx="830725" cy="415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100" kern="1200" dirty="0"/>
            <a:t>非研发任务</a:t>
          </a:r>
          <a:endParaRPr lang="zh-CN" altLang="en-US" sz="1100" kern="1200" dirty="0"/>
        </a:p>
      </dsp:txBody>
      <dsp:txXfrm>
        <a:off x="1176125" y="2878569"/>
        <a:ext cx="806393" cy="3910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C49096-D3A9-4DAD-8C6B-C88E4A7796E3}">
      <dsp:nvSpPr>
        <dsp:cNvPr id="0" name=""/>
        <dsp:cNvSpPr/>
      </dsp:nvSpPr>
      <dsp:spPr>
        <a:xfrm>
          <a:off x="438" y="197461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lumMod val="110000"/>
                <a:satMod val="105000"/>
                <a:tint val="67000"/>
              </a:schemeClr>
            </a:gs>
            <a:gs pos="50000">
              <a:schemeClr val="accent3">
                <a:lumMod val="105000"/>
                <a:satMod val="103000"/>
                <a:tint val="73000"/>
              </a:schemeClr>
            </a:gs>
            <a:gs pos="100000">
              <a:schemeClr val="accent3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6882" y="213905"/>
        <a:ext cx="902818" cy="528535"/>
      </dsp:txXfrm>
    </dsp:sp>
    <dsp:sp modelId="{DB42E419-36FA-47B8-B398-39F4DEEB4F0A}">
      <dsp:nvSpPr>
        <dsp:cNvPr id="0" name=""/>
        <dsp:cNvSpPr/>
      </dsp:nvSpPr>
      <dsp:spPr>
        <a:xfrm>
          <a:off x="1018486" y="362145"/>
          <a:ext cx="198369" cy="2320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800" kern="1200"/>
        </a:p>
      </dsp:txBody>
      <dsp:txXfrm>
        <a:off x="1018486" y="408556"/>
        <a:ext cx="138858" cy="139233"/>
      </dsp:txXfrm>
    </dsp:sp>
    <dsp:sp modelId="{54D51531-EFDC-44F5-B6A9-D8A469BDEA38}">
      <dsp:nvSpPr>
        <dsp:cNvPr id="0" name=""/>
        <dsp:cNvSpPr/>
      </dsp:nvSpPr>
      <dsp:spPr>
        <a:xfrm>
          <a:off x="1310427" y="197461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326871" y="213905"/>
        <a:ext cx="902818" cy="528535"/>
      </dsp:txXfrm>
    </dsp:sp>
    <dsp:sp modelId="{4CF1376C-2D38-4663-8360-44BBA7432C53}">
      <dsp:nvSpPr>
        <dsp:cNvPr id="0" name=""/>
        <dsp:cNvSpPr/>
      </dsp:nvSpPr>
      <dsp:spPr>
        <a:xfrm rot="5400000">
          <a:off x="1679095" y="824384"/>
          <a:ext cx="198369" cy="2320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800" kern="1200"/>
        </a:p>
      </dsp:txBody>
      <dsp:txXfrm rot="-5400000">
        <a:off x="1708664" y="841227"/>
        <a:ext cx="139233" cy="138858"/>
      </dsp:txXfrm>
    </dsp:sp>
    <dsp:sp modelId="{1DD53DCF-A1E9-4751-857B-6AF97E662E9F}">
      <dsp:nvSpPr>
        <dsp:cNvPr id="0" name=""/>
        <dsp:cNvSpPr/>
      </dsp:nvSpPr>
      <dsp:spPr>
        <a:xfrm>
          <a:off x="1310427" y="1133167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lumMod val="110000"/>
                <a:satMod val="105000"/>
                <a:tint val="67000"/>
              </a:schemeClr>
            </a:gs>
            <a:gs pos="50000">
              <a:schemeClr val="accent2">
                <a:lumMod val="105000"/>
                <a:satMod val="103000"/>
                <a:tint val="73000"/>
              </a:schemeClr>
            </a:gs>
            <a:gs pos="100000">
              <a:schemeClr val="accent2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2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326871" y="1149611"/>
        <a:ext cx="902818" cy="528535"/>
      </dsp:txXfrm>
    </dsp:sp>
    <dsp:sp modelId="{9B89744A-8E3A-47E1-8272-071E96C49A48}">
      <dsp:nvSpPr>
        <dsp:cNvPr id="0" name=""/>
        <dsp:cNvSpPr/>
      </dsp:nvSpPr>
      <dsp:spPr>
        <a:xfrm rot="10800000">
          <a:off x="1029715" y="1297851"/>
          <a:ext cx="198369" cy="2320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800" kern="1200"/>
        </a:p>
      </dsp:txBody>
      <dsp:txXfrm rot="10800000">
        <a:off x="1089226" y="1344262"/>
        <a:ext cx="138858" cy="139233"/>
      </dsp:txXfrm>
    </dsp:sp>
    <dsp:sp modelId="{9FF08FB5-62B0-4E2E-ACA9-E2007CC81622}">
      <dsp:nvSpPr>
        <dsp:cNvPr id="0" name=""/>
        <dsp:cNvSpPr/>
      </dsp:nvSpPr>
      <dsp:spPr>
        <a:xfrm>
          <a:off x="438" y="1133167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6882" y="1149611"/>
        <a:ext cx="902818" cy="52853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684966-1FFA-4F68-A063-45D61376F367}">
      <dsp:nvSpPr>
        <dsp:cNvPr id="0" name=""/>
        <dsp:cNvSpPr/>
      </dsp:nvSpPr>
      <dsp:spPr>
        <a:xfrm>
          <a:off x="0" y="257409"/>
          <a:ext cx="1310379" cy="78622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lumMod val="110000"/>
                <a:satMod val="105000"/>
                <a:tint val="67000"/>
              </a:schemeClr>
            </a:gs>
            <a:gs pos="50000">
              <a:schemeClr val="accent3">
                <a:lumMod val="105000"/>
                <a:satMod val="103000"/>
                <a:tint val="73000"/>
              </a:schemeClr>
            </a:gs>
            <a:gs pos="100000">
              <a:schemeClr val="accent3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itchFamily="34" charset="-122"/>
              <a:ea typeface="微软雅黑" pitchFamily="34" charset="-122"/>
            </a:rPr>
            <a:t>调研</a:t>
          </a:r>
        </a:p>
      </dsp:txBody>
      <dsp:txXfrm>
        <a:off x="23028" y="280437"/>
        <a:ext cx="1264323" cy="740171"/>
      </dsp:txXfrm>
    </dsp:sp>
    <dsp:sp modelId="{99F5B203-6627-4C4E-90FC-7EE84B702379}">
      <dsp:nvSpPr>
        <dsp:cNvPr id="0" name=""/>
        <dsp:cNvSpPr/>
      </dsp:nvSpPr>
      <dsp:spPr>
        <a:xfrm>
          <a:off x="1441417" y="488036"/>
          <a:ext cx="277800" cy="3249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>
        <a:off x="1441417" y="553031"/>
        <a:ext cx="194460" cy="194984"/>
      </dsp:txXfrm>
    </dsp:sp>
    <dsp:sp modelId="{D3203EC6-D7CF-458E-9BEC-E1CEE6280A57}">
      <dsp:nvSpPr>
        <dsp:cNvPr id="0" name=""/>
        <dsp:cNvSpPr/>
      </dsp:nvSpPr>
      <dsp:spPr>
        <a:xfrm>
          <a:off x="1834530" y="257409"/>
          <a:ext cx="1310379" cy="78622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lumMod val="110000"/>
                <a:satMod val="105000"/>
                <a:tint val="67000"/>
              </a:schemeClr>
            </a:gs>
            <a:gs pos="50000">
              <a:schemeClr val="accent3">
                <a:lumMod val="105000"/>
                <a:satMod val="103000"/>
                <a:tint val="73000"/>
              </a:schemeClr>
            </a:gs>
            <a:gs pos="100000">
              <a:schemeClr val="accent3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itchFamily="34" charset="-122"/>
              <a:ea typeface="微软雅黑" pitchFamily="34" charset="-122"/>
            </a:rPr>
            <a:t>需求</a:t>
          </a:r>
        </a:p>
      </dsp:txBody>
      <dsp:txXfrm>
        <a:off x="1857558" y="280437"/>
        <a:ext cx="1264323" cy="740171"/>
      </dsp:txXfrm>
    </dsp:sp>
    <dsp:sp modelId="{BC0F8849-E5F0-4611-94DD-C1FEE9099027}">
      <dsp:nvSpPr>
        <dsp:cNvPr id="0" name=""/>
        <dsp:cNvSpPr/>
      </dsp:nvSpPr>
      <dsp:spPr>
        <a:xfrm>
          <a:off x="3275947" y="488036"/>
          <a:ext cx="277800" cy="3249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363841"/>
            <a:satOff val="-20982"/>
            <a:lumOff val="2157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>
        <a:off x="3275947" y="553031"/>
        <a:ext cx="194460" cy="194984"/>
      </dsp:txXfrm>
    </dsp:sp>
    <dsp:sp modelId="{D591789F-896F-4EEA-8604-AA39259DAF7F}">
      <dsp:nvSpPr>
        <dsp:cNvPr id="0" name=""/>
        <dsp:cNvSpPr/>
      </dsp:nvSpPr>
      <dsp:spPr>
        <a:xfrm>
          <a:off x="3669061" y="257409"/>
          <a:ext cx="1310379" cy="78622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itchFamily="34" charset="-122"/>
              <a:ea typeface="微软雅黑" pitchFamily="34" charset="-122"/>
            </a:rPr>
            <a:t>开发</a:t>
          </a:r>
        </a:p>
      </dsp:txBody>
      <dsp:txXfrm>
        <a:off x="3692089" y="280437"/>
        <a:ext cx="1264323" cy="740171"/>
      </dsp:txXfrm>
    </dsp:sp>
    <dsp:sp modelId="{0AE6F030-7360-4432-9545-09B0412E0A09}">
      <dsp:nvSpPr>
        <dsp:cNvPr id="0" name=""/>
        <dsp:cNvSpPr/>
      </dsp:nvSpPr>
      <dsp:spPr>
        <a:xfrm>
          <a:off x="5110478" y="488036"/>
          <a:ext cx="277800" cy="3249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>
        <a:off x="5110478" y="553031"/>
        <a:ext cx="194460" cy="194984"/>
      </dsp:txXfrm>
    </dsp:sp>
    <dsp:sp modelId="{8027F083-4252-41FC-BE35-CD911DC4EFD4}">
      <dsp:nvSpPr>
        <dsp:cNvPr id="0" name=""/>
        <dsp:cNvSpPr/>
      </dsp:nvSpPr>
      <dsp:spPr>
        <a:xfrm>
          <a:off x="5503592" y="257409"/>
          <a:ext cx="1310379" cy="78622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itchFamily="34" charset="-122"/>
              <a:ea typeface="微软雅黑" pitchFamily="34" charset="-122"/>
            </a:rPr>
            <a:t>测试</a:t>
          </a:r>
        </a:p>
      </dsp:txBody>
      <dsp:txXfrm>
        <a:off x="5526620" y="280437"/>
        <a:ext cx="1264323" cy="740171"/>
      </dsp:txXfrm>
    </dsp:sp>
    <dsp:sp modelId="{B4FDCBD5-ACBE-4849-B033-729241191D58}">
      <dsp:nvSpPr>
        <dsp:cNvPr id="0" name=""/>
        <dsp:cNvSpPr/>
      </dsp:nvSpPr>
      <dsp:spPr>
        <a:xfrm>
          <a:off x="6945009" y="488036"/>
          <a:ext cx="277800" cy="3249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1091522"/>
            <a:satOff val="-62946"/>
            <a:lumOff val="6471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>
        <a:off x="6945009" y="553031"/>
        <a:ext cx="194460" cy="194984"/>
      </dsp:txXfrm>
    </dsp:sp>
    <dsp:sp modelId="{CE417D40-EE58-4168-9A00-CCE5AA006975}">
      <dsp:nvSpPr>
        <dsp:cNvPr id="0" name=""/>
        <dsp:cNvSpPr/>
      </dsp:nvSpPr>
      <dsp:spPr>
        <a:xfrm>
          <a:off x="7338123" y="257409"/>
          <a:ext cx="1310379" cy="78622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lumMod val="110000"/>
                <a:satMod val="105000"/>
                <a:tint val="67000"/>
              </a:schemeClr>
            </a:gs>
            <a:gs pos="50000">
              <a:schemeClr val="accent2">
                <a:lumMod val="105000"/>
                <a:satMod val="103000"/>
                <a:tint val="73000"/>
              </a:schemeClr>
            </a:gs>
            <a:gs pos="100000">
              <a:schemeClr val="accent2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2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itchFamily="34" charset="-122"/>
              <a:ea typeface="微软雅黑" pitchFamily="34" charset="-122"/>
            </a:rPr>
            <a:t>上线</a:t>
          </a:r>
        </a:p>
      </dsp:txBody>
      <dsp:txXfrm>
        <a:off x="7361151" y="280437"/>
        <a:ext cx="1264323" cy="740171"/>
      </dsp:txXfrm>
    </dsp:sp>
    <dsp:sp modelId="{7B0B0AA8-437A-4744-B352-536FBA908B52}">
      <dsp:nvSpPr>
        <dsp:cNvPr id="0" name=""/>
        <dsp:cNvSpPr/>
      </dsp:nvSpPr>
      <dsp:spPr>
        <a:xfrm>
          <a:off x="8779540" y="488036"/>
          <a:ext cx="277800" cy="3249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700" b="1" kern="1200">
            <a:latin typeface="微软雅黑" pitchFamily="34" charset="-122"/>
            <a:ea typeface="微软雅黑" pitchFamily="34" charset="-122"/>
          </a:endParaRPr>
        </a:p>
      </dsp:txBody>
      <dsp:txXfrm>
        <a:off x="8779540" y="553031"/>
        <a:ext cx="194460" cy="194984"/>
      </dsp:txXfrm>
    </dsp:sp>
    <dsp:sp modelId="{26E9B699-D9C8-4984-B683-0C9D15CE3717}">
      <dsp:nvSpPr>
        <dsp:cNvPr id="0" name=""/>
        <dsp:cNvSpPr/>
      </dsp:nvSpPr>
      <dsp:spPr>
        <a:xfrm>
          <a:off x="9172653" y="257409"/>
          <a:ext cx="1310379" cy="78622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itchFamily="34" charset="-122"/>
              <a:ea typeface="微软雅黑" pitchFamily="34" charset="-122"/>
            </a:rPr>
            <a:t>结项</a:t>
          </a:r>
        </a:p>
      </dsp:txBody>
      <dsp:txXfrm>
        <a:off x="9195681" y="280437"/>
        <a:ext cx="1264323" cy="74017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C49096-D3A9-4DAD-8C6B-C88E4A7796E3}">
      <dsp:nvSpPr>
        <dsp:cNvPr id="0" name=""/>
        <dsp:cNvSpPr/>
      </dsp:nvSpPr>
      <dsp:spPr>
        <a:xfrm>
          <a:off x="438" y="197461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lumMod val="110000"/>
                <a:satMod val="105000"/>
                <a:tint val="67000"/>
              </a:schemeClr>
            </a:gs>
            <a:gs pos="50000">
              <a:schemeClr val="accent3">
                <a:lumMod val="105000"/>
                <a:satMod val="103000"/>
                <a:tint val="73000"/>
              </a:schemeClr>
            </a:gs>
            <a:gs pos="100000">
              <a:schemeClr val="accent3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6882" y="213905"/>
        <a:ext cx="902818" cy="528535"/>
      </dsp:txXfrm>
    </dsp:sp>
    <dsp:sp modelId="{DB42E419-36FA-47B8-B398-39F4DEEB4F0A}">
      <dsp:nvSpPr>
        <dsp:cNvPr id="0" name=""/>
        <dsp:cNvSpPr/>
      </dsp:nvSpPr>
      <dsp:spPr>
        <a:xfrm>
          <a:off x="1018486" y="362145"/>
          <a:ext cx="198369" cy="2320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800" kern="1200"/>
        </a:p>
      </dsp:txBody>
      <dsp:txXfrm>
        <a:off x="1018486" y="408556"/>
        <a:ext cx="138858" cy="139233"/>
      </dsp:txXfrm>
    </dsp:sp>
    <dsp:sp modelId="{54D51531-EFDC-44F5-B6A9-D8A469BDEA38}">
      <dsp:nvSpPr>
        <dsp:cNvPr id="0" name=""/>
        <dsp:cNvSpPr/>
      </dsp:nvSpPr>
      <dsp:spPr>
        <a:xfrm>
          <a:off x="1310427" y="197461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326871" y="213905"/>
        <a:ext cx="902818" cy="528535"/>
      </dsp:txXfrm>
    </dsp:sp>
    <dsp:sp modelId="{4CF1376C-2D38-4663-8360-44BBA7432C53}">
      <dsp:nvSpPr>
        <dsp:cNvPr id="0" name=""/>
        <dsp:cNvSpPr/>
      </dsp:nvSpPr>
      <dsp:spPr>
        <a:xfrm rot="5400000">
          <a:off x="1679095" y="824384"/>
          <a:ext cx="198369" cy="2320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800" kern="1200"/>
        </a:p>
      </dsp:txBody>
      <dsp:txXfrm rot="-5400000">
        <a:off x="1708664" y="841227"/>
        <a:ext cx="139233" cy="138858"/>
      </dsp:txXfrm>
    </dsp:sp>
    <dsp:sp modelId="{1DD53DCF-A1E9-4751-857B-6AF97E662E9F}">
      <dsp:nvSpPr>
        <dsp:cNvPr id="0" name=""/>
        <dsp:cNvSpPr/>
      </dsp:nvSpPr>
      <dsp:spPr>
        <a:xfrm>
          <a:off x="1310427" y="1133167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lumMod val="110000"/>
                <a:satMod val="105000"/>
                <a:tint val="67000"/>
              </a:schemeClr>
            </a:gs>
            <a:gs pos="50000">
              <a:schemeClr val="accent2">
                <a:lumMod val="105000"/>
                <a:satMod val="103000"/>
                <a:tint val="73000"/>
              </a:schemeClr>
            </a:gs>
            <a:gs pos="100000">
              <a:schemeClr val="accent2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2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326871" y="1149611"/>
        <a:ext cx="902818" cy="528535"/>
      </dsp:txXfrm>
    </dsp:sp>
    <dsp:sp modelId="{9B89744A-8E3A-47E1-8272-071E96C49A48}">
      <dsp:nvSpPr>
        <dsp:cNvPr id="0" name=""/>
        <dsp:cNvSpPr/>
      </dsp:nvSpPr>
      <dsp:spPr>
        <a:xfrm rot="10800000">
          <a:off x="1029715" y="1297851"/>
          <a:ext cx="198369" cy="2320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800" kern="1200"/>
        </a:p>
      </dsp:txBody>
      <dsp:txXfrm rot="10800000">
        <a:off x="1089226" y="1344262"/>
        <a:ext cx="138858" cy="139233"/>
      </dsp:txXfrm>
    </dsp:sp>
    <dsp:sp modelId="{9FF08FB5-62B0-4E2E-ACA9-E2007CC81622}">
      <dsp:nvSpPr>
        <dsp:cNvPr id="0" name=""/>
        <dsp:cNvSpPr/>
      </dsp:nvSpPr>
      <dsp:spPr>
        <a:xfrm>
          <a:off x="438" y="1133167"/>
          <a:ext cx="935706" cy="56142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 dirty="0">
            <a:latin typeface="宋体" pitchFamily="2" charset="-122"/>
            <a:ea typeface="宋体" pitchFamily="2" charset="-122"/>
          </a:endParaRPr>
        </a:p>
      </dsp:txBody>
      <dsp:txXfrm>
        <a:off x="16882" y="1149611"/>
        <a:ext cx="902818" cy="52853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DC186F-ECF3-46B2-A9D7-6B4C4972B03E}">
      <dsp:nvSpPr>
        <dsp:cNvPr id="0" name=""/>
        <dsp:cNvSpPr/>
      </dsp:nvSpPr>
      <dsp:spPr>
        <a:xfrm rot="5400000">
          <a:off x="5436404" y="-3091312"/>
          <a:ext cx="975517" cy="731425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b="0" i="0" kern="1200" dirty="0">
              <a:effectLst/>
              <a:latin typeface="微软雅黑" pitchFamily="34" charset="-122"/>
              <a:ea typeface="微软雅黑" pitchFamily="34" charset="-122"/>
            </a:rPr>
            <a:t>迭代式增量软件开发过程，用于敏捷软件开发。</a:t>
          </a:r>
          <a:endParaRPr lang="zh-CN" altLang="en-US" sz="1600" kern="1200" dirty="0">
            <a:effectLst/>
            <a:latin typeface="微软雅黑" pitchFamily="34" charset="-122"/>
            <a:ea typeface="微软雅黑" pitchFamily="34" charset="-122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effectLst/>
              <a:latin typeface="微软雅黑" pitchFamily="34" charset="-122"/>
              <a:ea typeface="微软雅黑" pitchFamily="34" charset="-122"/>
            </a:rPr>
            <a:t>迭代前需求排优先级和细化，迭代中每天站会同步进展，迭代后交付。</a:t>
          </a:r>
        </a:p>
      </dsp:txBody>
      <dsp:txXfrm rot="-5400000">
        <a:off x="2267036" y="125677"/>
        <a:ext cx="7266633" cy="880275"/>
      </dsp:txXfrm>
    </dsp:sp>
    <dsp:sp modelId="{71AEB072-B1CA-4061-97E7-AECEFB22E540}">
      <dsp:nvSpPr>
        <dsp:cNvPr id="0" name=""/>
        <dsp:cNvSpPr/>
      </dsp:nvSpPr>
      <dsp:spPr>
        <a:xfrm>
          <a:off x="205464" y="2343"/>
          <a:ext cx="2061572" cy="11269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kern="1200" dirty="0">
              <a:latin typeface="微软雅黑" pitchFamily="34" charset="-122"/>
              <a:ea typeface="微软雅黑" pitchFamily="34" charset="-122"/>
            </a:rPr>
            <a:t>Scrum</a:t>
          </a:r>
          <a:endParaRPr lang="zh-CN" altLang="en-US" sz="24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60477" y="57356"/>
        <a:ext cx="1951546" cy="1016916"/>
      </dsp:txXfrm>
    </dsp:sp>
    <dsp:sp modelId="{6B133A37-417D-432C-9F6F-CC4E91F3A802}">
      <dsp:nvSpPr>
        <dsp:cNvPr id="0" name=""/>
        <dsp:cNvSpPr/>
      </dsp:nvSpPr>
      <dsp:spPr>
        <a:xfrm rot="5400000">
          <a:off x="5464704" y="-1897914"/>
          <a:ext cx="901554" cy="729403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b="0" i="0" kern="1200" dirty="0">
              <a:latin typeface="微软雅黑" pitchFamily="34" charset="-122"/>
              <a:ea typeface="微软雅黑" pitchFamily="34" charset="-122"/>
            </a:rPr>
            <a:t>软件开发和运维实践</a:t>
          </a:r>
          <a:endParaRPr lang="zh-CN" altLang="en-US" sz="1600" kern="1200" dirty="0">
            <a:latin typeface="微软雅黑" pitchFamily="34" charset="-122"/>
            <a:ea typeface="微软雅黑" pitchFamily="34" charset="-122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微软雅黑" pitchFamily="34" charset="-122"/>
              <a:ea typeface="微软雅黑" pitchFamily="34" charset="-122"/>
            </a:rPr>
            <a:t>每日自动构建和发布</a:t>
          </a:r>
        </a:p>
      </dsp:txBody>
      <dsp:txXfrm rot="-5400000">
        <a:off x="2268463" y="1342337"/>
        <a:ext cx="7250027" cy="813534"/>
      </dsp:txXfrm>
    </dsp:sp>
    <dsp:sp modelId="{167DF626-CD93-45C4-8129-F5EB840C8D61}">
      <dsp:nvSpPr>
        <dsp:cNvPr id="0" name=""/>
        <dsp:cNvSpPr/>
      </dsp:nvSpPr>
      <dsp:spPr>
        <a:xfrm>
          <a:off x="205464" y="1185633"/>
          <a:ext cx="2062998" cy="11269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>
              <a:latin typeface="微软雅黑" pitchFamily="34" charset="-122"/>
              <a:ea typeface="微软雅黑" pitchFamily="34" charset="-122"/>
            </a:rPr>
            <a:t>持续集成</a:t>
          </a:r>
        </a:p>
      </dsp:txBody>
      <dsp:txXfrm>
        <a:off x="260477" y="1240646"/>
        <a:ext cx="1952972" cy="1016916"/>
      </dsp:txXfrm>
    </dsp:sp>
    <dsp:sp modelId="{EEB38571-BFDD-4663-AA88-41D8C25F17F9}">
      <dsp:nvSpPr>
        <dsp:cNvPr id="0" name=""/>
        <dsp:cNvSpPr/>
      </dsp:nvSpPr>
      <dsp:spPr>
        <a:xfrm rot="5400000">
          <a:off x="5464545" y="-714750"/>
          <a:ext cx="901554" cy="729429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微软雅黑" pitchFamily="34" charset="-122"/>
              <a:ea typeface="微软雅黑" pitchFamily="34" charset="-122"/>
            </a:rPr>
            <a:t>项目进度跟踪，</a:t>
          </a:r>
          <a:r>
            <a:rPr lang="en-US" altLang="zh-CN" sz="1600" kern="1200" dirty="0">
              <a:latin typeface="微软雅黑" pitchFamily="34" charset="-122"/>
              <a:ea typeface="微软雅黑" pitchFamily="34" charset="-122"/>
            </a:rPr>
            <a:t>RD/PM/UE/QA</a:t>
          </a:r>
          <a:r>
            <a:rPr lang="zh-CN" altLang="en-US" sz="1600" kern="1200" dirty="0">
              <a:latin typeface="微软雅黑" pitchFamily="34" charset="-122"/>
              <a:ea typeface="微软雅黑" pitchFamily="34" charset="-122"/>
            </a:rPr>
            <a:t>交流沟通，了解彼此进展和问题。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latin typeface="微软雅黑" pitchFamily="34" charset="-122"/>
              <a:ea typeface="微软雅黑" pitchFamily="34" charset="-122"/>
            </a:rPr>
            <a:t>状态定义，色区分卡，内容、姓名、角色等标识，燃起图</a:t>
          </a:r>
        </a:p>
      </dsp:txBody>
      <dsp:txXfrm rot="-5400000">
        <a:off x="2268177" y="2525628"/>
        <a:ext cx="7250280" cy="813534"/>
      </dsp:txXfrm>
    </dsp:sp>
    <dsp:sp modelId="{E96EEE1E-5B6A-4B8C-AF56-78E97A561E87}">
      <dsp:nvSpPr>
        <dsp:cNvPr id="0" name=""/>
        <dsp:cNvSpPr/>
      </dsp:nvSpPr>
      <dsp:spPr>
        <a:xfrm>
          <a:off x="205464" y="2368923"/>
          <a:ext cx="2062712" cy="11269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>
              <a:latin typeface="微软雅黑" pitchFamily="34" charset="-122"/>
              <a:ea typeface="微软雅黑" pitchFamily="34" charset="-122"/>
            </a:rPr>
            <a:t>看板管理</a:t>
          </a:r>
        </a:p>
      </dsp:txBody>
      <dsp:txXfrm>
        <a:off x="260477" y="2423936"/>
        <a:ext cx="1952686" cy="1016916"/>
      </dsp:txXfrm>
    </dsp:sp>
    <dsp:sp modelId="{080013E8-D769-4342-B664-71FB5473923D}">
      <dsp:nvSpPr>
        <dsp:cNvPr id="0" name=""/>
        <dsp:cNvSpPr/>
      </dsp:nvSpPr>
      <dsp:spPr>
        <a:xfrm rot="5400000">
          <a:off x="5569204" y="438848"/>
          <a:ext cx="901554" cy="735367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effectLst/>
              <a:latin typeface="微软雅黑" pitchFamily="34" charset="-122"/>
              <a:ea typeface="微软雅黑" pitchFamily="34" charset="-122"/>
            </a:rPr>
            <a:t>每天</a:t>
          </a:r>
          <a:r>
            <a:rPr lang="en-US" altLang="zh-CN" sz="1600" kern="1200" dirty="0">
              <a:effectLst/>
              <a:latin typeface="微软雅黑" pitchFamily="34" charset="-122"/>
              <a:ea typeface="微软雅黑" pitchFamily="34" charset="-122"/>
            </a:rPr>
            <a:t>15</a:t>
          </a:r>
          <a:r>
            <a:rPr lang="zh-CN" altLang="en-US" sz="1600" kern="1200" dirty="0">
              <a:effectLst/>
              <a:latin typeface="微软雅黑" pitchFamily="34" charset="-122"/>
              <a:ea typeface="微软雅黑" pitchFamily="34" charset="-122"/>
            </a:rPr>
            <a:t>分钟，固定时间 ，同一时间同一地点互相沟通和分享工作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>
              <a:effectLst/>
              <a:latin typeface="微软雅黑" pitchFamily="34" charset="-122"/>
              <a:ea typeface="微软雅黑" pitchFamily="34" charset="-122"/>
            </a:rPr>
            <a:t>分享内容： 昨天做了什么？ 今天会做什么？遇到的困难？ </a:t>
          </a:r>
        </a:p>
      </dsp:txBody>
      <dsp:txXfrm rot="-5400000">
        <a:off x="2343145" y="3708917"/>
        <a:ext cx="7309663" cy="813534"/>
      </dsp:txXfrm>
    </dsp:sp>
    <dsp:sp modelId="{E759C99A-C793-4E25-9A73-A185ACD8E53A}">
      <dsp:nvSpPr>
        <dsp:cNvPr id="0" name=""/>
        <dsp:cNvSpPr/>
      </dsp:nvSpPr>
      <dsp:spPr>
        <a:xfrm>
          <a:off x="205464" y="3552213"/>
          <a:ext cx="2137681" cy="11269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>
              <a:latin typeface="微软雅黑" pitchFamily="34" charset="-122"/>
              <a:ea typeface="微软雅黑" pitchFamily="34" charset="-122"/>
            </a:rPr>
            <a:t>每日站会</a:t>
          </a:r>
        </a:p>
      </dsp:txBody>
      <dsp:txXfrm>
        <a:off x="260477" y="3607226"/>
        <a:ext cx="2027655" cy="101691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5FFA5A-70BF-4942-BDDB-EE01271FAE70}">
      <dsp:nvSpPr>
        <dsp:cNvPr id="0" name=""/>
        <dsp:cNvSpPr/>
      </dsp:nvSpPr>
      <dsp:spPr>
        <a:xfrm>
          <a:off x="2598" y="2592668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Epic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18678" y="2608748"/>
        <a:ext cx="1065860" cy="516850"/>
      </dsp:txXfrm>
    </dsp:sp>
    <dsp:sp modelId="{7C0819C2-8256-F442-B22A-FC5EC0372F14}">
      <dsp:nvSpPr>
        <dsp:cNvPr id="0" name=""/>
        <dsp:cNvSpPr/>
      </dsp:nvSpPr>
      <dsp:spPr>
        <a:xfrm rot="18289469">
          <a:off x="935670" y="2542374"/>
          <a:ext cx="769104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769104" y="911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1300995" y="2532265"/>
        <a:ext cx="38455" cy="38455"/>
      </dsp:txXfrm>
    </dsp:sp>
    <dsp:sp modelId="{71374535-BFEF-474F-A4DD-23B92F76F411}">
      <dsp:nvSpPr>
        <dsp:cNvPr id="0" name=""/>
        <dsp:cNvSpPr/>
      </dsp:nvSpPr>
      <dsp:spPr>
        <a:xfrm>
          <a:off x="1539827" y="1961306"/>
          <a:ext cx="1403731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Feature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1555907" y="1977386"/>
        <a:ext cx="1371571" cy="516850"/>
      </dsp:txXfrm>
    </dsp:sp>
    <dsp:sp modelId="{F2AB43C2-71CD-9B48-B1F5-06D9982A1E0A}">
      <dsp:nvSpPr>
        <dsp:cNvPr id="0" name=""/>
        <dsp:cNvSpPr/>
      </dsp:nvSpPr>
      <dsp:spPr>
        <a:xfrm rot="19457599">
          <a:off x="2892720" y="2068852"/>
          <a:ext cx="540886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540886" y="91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149641" y="2064449"/>
        <a:ext cx="27044" cy="27044"/>
      </dsp:txXfrm>
    </dsp:sp>
    <dsp:sp modelId="{C1373B57-5A7D-2843-93B8-F371E11895EF}">
      <dsp:nvSpPr>
        <dsp:cNvPr id="0" name=""/>
        <dsp:cNvSpPr/>
      </dsp:nvSpPr>
      <dsp:spPr>
        <a:xfrm>
          <a:off x="3382767" y="1645625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S</a:t>
          </a: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ory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398847" y="1661705"/>
        <a:ext cx="1065860" cy="516850"/>
      </dsp:txXfrm>
    </dsp:sp>
    <dsp:sp modelId="{3CBCF565-0D18-AD42-82EA-B3A960420BC5}">
      <dsp:nvSpPr>
        <dsp:cNvPr id="0" name=""/>
        <dsp:cNvSpPr/>
      </dsp:nvSpPr>
      <dsp:spPr>
        <a:xfrm rot="19457599">
          <a:off x="4429949" y="1753171"/>
          <a:ext cx="540886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540886" y="91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4686870" y="1748768"/>
        <a:ext cx="27044" cy="27044"/>
      </dsp:txXfrm>
    </dsp:sp>
    <dsp:sp modelId="{26FC079C-B752-5F41-A856-0CDFF93985DA}">
      <dsp:nvSpPr>
        <dsp:cNvPr id="0" name=""/>
        <dsp:cNvSpPr/>
      </dsp:nvSpPr>
      <dsp:spPr>
        <a:xfrm>
          <a:off x="4919996" y="1329944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4936076" y="1346024"/>
        <a:ext cx="1065860" cy="516850"/>
      </dsp:txXfrm>
    </dsp:sp>
    <dsp:sp modelId="{45D9446E-47AB-164D-B4CE-DDD3D5628B69}">
      <dsp:nvSpPr>
        <dsp:cNvPr id="0" name=""/>
        <dsp:cNvSpPr/>
      </dsp:nvSpPr>
      <dsp:spPr>
        <a:xfrm rot="2142401">
          <a:off x="4429949" y="2068852"/>
          <a:ext cx="540886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540886" y="91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4686870" y="2064449"/>
        <a:ext cx="27044" cy="27044"/>
      </dsp:txXfrm>
    </dsp:sp>
    <dsp:sp modelId="{2231B17C-F3BC-A748-A254-A4ED44901516}">
      <dsp:nvSpPr>
        <dsp:cNvPr id="0" name=""/>
        <dsp:cNvSpPr/>
      </dsp:nvSpPr>
      <dsp:spPr>
        <a:xfrm>
          <a:off x="4919996" y="1961306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4936076" y="1977386"/>
        <a:ext cx="1065860" cy="516850"/>
      </dsp:txXfrm>
    </dsp:sp>
    <dsp:sp modelId="{5DDF439B-EDB3-FC45-A5D8-D245E3308255}">
      <dsp:nvSpPr>
        <dsp:cNvPr id="0" name=""/>
        <dsp:cNvSpPr/>
      </dsp:nvSpPr>
      <dsp:spPr>
        <a:xfrm rot="2142401">
          <a:off x="2892720" y="2384533"/>
          <a:ext cx="540886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540886" y="91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149641" y="2380130"/>
        <a:ext cx="27044" cy="27044"/>
      </dsp:txXfrm>
    </dsp:sp>
    <dsp:sp modelId="{57D56CF0-C13D-824D-BDFF-7C28028B8B73}">
      <dsp:nvSpPr>
        <dsp:cNvPr id="0" name=""/>
        <dsp:cNvSpPr/>
      </dsp:nvSpPr>
      <dsp:spPr>
        <a:xfrm>
          <a:off x="3382767" y="2276987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S</a:t>
          </a: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ory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398847" y="2293067"/>
        <a:ext cx="1065860" cy="516850"/>
      </dsp:txXfrm>
    </dsp:sp>
    <dsp:sp modelId="{28089231-4519-0843-9903-B6F029E7E658}">
      <dsp:nvSpPr>
        <dsp:cNvPr id="0" name=""/>
        <dsp:cNvSpPr/>
      </dsp:nvSpPr>
      <dsp:spPr>
        <a:xfrm rot="3310531">
          <a:off x="935670" y="3173736"/>
          <a:ext cx="769104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769104" y="911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1300995" y="3163627"/>
        <a:ext cx="38455" cy="38455"/>
      </dsp:txXfrm>
    </dsp:sp>
    <dsp:sp modelId="{DBE49202-7EC6-F74D-B2D8-7F411EBF2800}">
      <dsp:nvSpPr>
        <dsp:cNvPr id="0" name=""/>
        <dsp:cNvSpPr/>
      </dsp:nvSpPr>
      <dsp:spPr>
        <a:xfrm>
          <a:off x="1539827" y="3224030"/>
          <a:ext cx="138949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ech</a:t>
          </a:r>
          <a:r>
            <a:rPr lang="zh-Hans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 </a:t>
          </a:r>
          <a:r>
            <a:rPr lang="en-US" altLang="zh-CN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F</a:t>
          </a: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eature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1555907" y="3240110"/>
        <a:ext cx="1357330" cy="516850"/>
      </dsp:txXfrm>
    </dsp:sp>
    <dsp:sp modelId="{232B6F91-FD38-5640-A143-EA3B1A0EBBB7}">
      <dsp:nvSpPr>
        <dsp:cNvPr id="0" name=""/>
        <dsp:cNvSpPr/>
      </dsp:nvSpPr>
      <dsp:spPr>
        <a:xfrm rot="19457599">
          <a:off x="2878478" y="3331576"/>
          <a:ext cx="540886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540886" y="91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135399" y="3327173"/>
        <a:ext cx="27044" cy="27044"/>
      </dsp:txXfrm>
    </dsp:sp>
    <dsp:sp modelId="{0263A7EF-291D-2F46-9F58-FAFB68A9330C}">
      <dsp:nvSpPr>
        <dsp:cNvPr id="0" name=""/>
        <dsp:cNvSpPr/>
      </dsp:nvSpPr>
      <dsp:spPr>
        <a:xfrm>
          <a:off x="3368526" y="2908349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ech</a:t>
          </a:r>
          <a:r>
            <a:rPr lang="zh-Hans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 </a:t>
          </a: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384606" y="2924429"/>
        <a:ext cx="1065860" cy="516850"/>
      </dsp:txXfrm>
    </dsp:sp>
    <dsp:sp modelId="{68C7A2CD-96E1-6F43-9D02-896C0B4D13A2}">
      <dsp:nvSpPr>
        <dsp:cNvPr id="0" name=""/>
        <dsp:cNvSpPr/>
      </dsp:nvSpPr>
      <dsp:spPr>
        <a:xfrm rot="2142401">
          <a:off x="2878478" y="3647257"/>
          <a:ext cx="540886" cy="18237"/>
        </a:xfrm>
        <a:custGeom>
          <a:avLst/>
          <a:gdLst/>
          <a:ahLst/>
          <a:cxnLst/>
          <a:rect l="0" t="0" r="0" b="0"/>
          <a:pathLst>
            <a:path>
              <a:moveTo>
                <a:pt x="0" y="9118"/>
              </a:moveTo>
              <a:lnTo>
                <a:pt x="540886" y="91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135399" y="3642854"/>
        <a:ext cx="27044" cy="27044"/>
      </dsp:txXfrm>
    </dsp:sp>
    <dsp:sp modelId="{A0C91F8B-8675-4948-8BC8-F0524AB7665E}">
      <dsp:nvSpPr>
        <dsp:cNvPr id="0" name=""/>
        <dsp:cNvSpPr/>
      </dsp:nvSpPr>
      <dsp:spPr>
        <a:xfrm>
          <a:off x="3368526" y="3539711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ech</a:t>
          </a:r>
          <a:r>
            <a:rPr lang="zh-Hans" altLang="en-U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 </a:t>
          </a: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Task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384606" y="3555791"/>
        <a:ext cx="1065860" cy="516850"/>
      </dsp:txXfrm>
    </dsp:sp>
    <dsp:sp modelId="{ADD3AD45-DE0D-664B-B945-83E453C517E6}">
      <dsp:nvSpPr>
        <dsp:cNvPr id="0" name=""/>
        <dsp:cNvSpPr/>
      </dsp:nvSpPr>
      <dsp:spPr>
        <a:xfrm>
          <a:off x="2598" y="3224030"/>
          <a:ext cx="1098020" cy="549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Hans" sz="16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Bug</a:t>
          </a:r>
          <a:endParaRPr lang="zh-CN" altLang="en-US" sz="16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18678" y="3240110"/>
        <a:ext cx="1065860" cy="51685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E3ECC6-EB09-4418-8FCB-4E633F2488C3}">
      <dsp:nvSpPr>
        <dsp:cNvPr id="0" name=""/>
        <dsp:cNvSpPr/>
      </dsp:nvSpPr>
      <dsp:spPr>
        <a:xfrm>
          <a:off x="301" y="170584"/>
          <a:ext cx="1176657" cy="705994"/>
        </a:xfrm>
        <a:prstGeom prst="rect">
          <a:avLst/>
        </a:prstGeom>
        <a:solidFill>
          <a:srgbClr val="2932E1"/>
        </a:solidFill>
        <a:ln w="12700" cap="flat" cmpd="sng" algn="ctr">
          <a:solidFill>
            <a:srgbClr val="B1AE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产品列表</a:t>
          </a:r>
        </a:p>
      </dsp:txBody>
      <dsp:txXfrm>
        <a:off x="301" y="170584"/>
        <a:ext cx="1176657" cy="705994"/>
      </dsp:txXfrm>
    </dsp:sp>
    <dsp:sp modelId="{B975A6A9-AA78-4FF3-9D21-8C60920DE693}">
      <dsp:nvSpPr>
        <dsp:cNvPr id="0" name=""/>
        <dsp:cNvSpPr/>
      </dsp:nvSpPr>
      <dsp:spPr>
        <a:xfrm>
          <a:off x="1294625" y="170584"/>
          <a:ext cx="1176657" cy="705994"/>
        </a:xfrm>
        <a:prstGeom prst="rect">
          <a:avLst/>
        </a:prstGeom>
        <a:solidFill>
          <a:srgbClr val="2932E1"/>
        </a:solidFill>
        <a:ln w="12700" cap="flat" cmpd="sng" algn="ctr">
          <a:solidFill>
            <a:srgbClr val="B1AE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团队速率</a:t>
          </a:r>
        </a:p>
      </dsp:txBody>
      <dsp:txXfrm>
        <a:off x="1294625" y="170584"/>
        <a:ext cx="1176657" cy="705994"/>
      </dsp:txXfrm>
    </dsp:sp>
    <dsp:sp modelId="{2FC67792-45B0-49E0-8D50-E95BF538EF9D}">
      <dsp:nvSpPr>
        <dsp:cNvPr id="0" name=""/>
        <dsp:cNvSpPr/>
      </dsp:nvSpPr>
      <dsp:spPr>
        <a:xfrm>
          <a:off x="301" y="994245"/>
          <a:ext cx="1176657" cy="705994"/>
        </a:xfrm>
        <a:prstGeom prst="rect">
          <a:avLst/>
        </a:prstGeom>
        <a:solidFill>
          <a:srgbClr val="2932E1"/>
        </a:solidFill>
        <a:ln w="12700" cap="flat" cmpd="sng" algn="ctr">
          <a:solidFill>
            <a:srgbClr val="B1AE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约束</a:t>
          </a:r>
        </a:p>
      </dsp:txBody>
      <dsp:txXfrm>
        <a:off x="301" y="994245"/>
        <a:ext cx="1176657" cy="705994"/>
      </dsp:txXfrm>
    </dsp:sp>
    <dsp:sp modelId="{2D7EFDCC-2889-4F39-8BB1-942B67E06B2C}">
      <dsp:nvSpPr>
        <dsp:cNvPr id="0" name=""/>
        <dsp:cNvSpPr/>
      </dsp:nvSpPr>
      <dsp:spPr>
        <a:xfrm>
          <a:off x="1294625" y="994245"/>
          <a:ext cx="1176657" cy="705994"/>
        </a:xfrm>
        <a:prstGeom prst="rect">
          <a:avLst/>
        </a:prstGeom>
        <a:solidFill>
          <a:srgbClr val="2932E1"/>
        </a:solidFill>
        <a:ln w="12700" cap="flat" cmpd="sng" algn="ctr">
          <a:solidFill>
            <a:srgbClr val="B1AE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迭代目标</a:t>
          </a:r>
        </a:p>
      </dsp:txBody>
      <dsp:txXfrm>
        <a:off x="1294625" y="994245"/>
        <a:ext cx="1176657" cy="70599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57B784-CCAF-4834-90E2-00D4CECD27E0}">
      <dsp:nvSpPr>
        <dsp:cNvPr id="0" name=""/>
        <dsp:cNvSpPr/>
      </dsp:nvSpPr>
      <dsp:spPr>
        <a:xfrm>
          <a:off x="0" y="76184"/>
          <a:ext cx="964593" cy="578755"/>
        </a:xfrm>
        <a:prstGeom prst="rect">
          <a:avLst/>
        </a:prstGeom>
        <a:solidFill>
          <a:srgbClr val="2932E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迭代目标</a:t>
          </a:r>
        </a:p>
      </dsp:txBody>
      <dsp:txXfrm>
        <a:off x="0" y="76184"/>
        <a:ext cx="964593" cy="578755"/>
      </dsp:txXfrm>
    </dsp:sp>
    <dsp:sp modelId="{F075F55E-FFDF-4223-83F1-99D648BA7181}">
      <dsp:nvSpPr>
        <dsp:cNvPr id="0" name=""/>
        <dsp:cNvSpPr/>
      </dsp:nvSpPr>
      <dsp:spPr>
        <a:xfrm>
          <a:off x="0" y="758761"/>
          <a:ext cx="964593" cy="578755"/>
        </a:xfrm>
        <a:prstGeom prst="rect">
          <a:avLst/>
        </a:prstGeom>
        <a:solidFill>
          <a:srgbClr val="2932E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Sprint Backlog</a:t>
          </a:r>
          <a:endParaRPr lang="zh-CN" altLang="en-US" sz="1200" kern="1200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0" y="758761"/>
        <a:ext cx="964593" cy="57875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1E9364-54AA-4714-A51D-1EB8D8B195CD}">
      <dsp:nvSpPr>
        <dsp:cNvPr id="0" name=""/>
        <dsp:cNvSpPr/>
      </dsp:nvSpPr>
      <dsp:spPr>
        <a:xfrm rot="16200000">
          <a:off x="682341" y="-682341"/>
          <a:ext cx="1004795" cy="2369478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总结或概要说明迭代目标中哪些完成了、哪些没有完成</a:t>
          </a:r>
        </a:p>
      </dsp:txBody>
      <dsp:txXfrm rot="5400000">
        <a:off x="0" y="0"/>
        <a:ext cx="2369478" cy="753596"/>
      </dsp:txXfrm>
    </dsp:sp>
    <dsp:sp modelId="{771DCB23-A5A2-44A9-AD28-DEB86FD8FC3B}">
      <dsp:nvSpPr>
        <dsp:cNvPr id="0" name=""/>
        <dsp:cNvSpPr/>
      </dsp:nvSpPr>
      <dsp:spPr>
        <a:xfrm>
          <a:off x="2369478" y="0"/>
          <a:ext cx="2369478" cy="1004795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演示潜在可发布产品增量</a:t>
          </a:r>
        </a:p>
      </dsp:txBody>
      <dsp:txXfrm>
        <a:off x="2369478" y="0"/>
        <a:ext cx="2369478" cy="753596"/>
      </dsp:txXfrm>
    </dsp:sp>
    <dsp:sp modelId="{10CB24F8-92BC-4F1B-B65C-4DD47C31D58F}">
      <dsp:nvSpPr>
        <dsp:cNvPr id="0" name=""/>
        <dsp:cNvSpPr/>
      </dsp:nvSpPr>
      <dsp:spPr>
        <a:xfrm rot="10800000">
          <a:off x="0" y="1004795"/>
          <a:ext cx="2369478" cy="1004795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讨论产品当前状态</a:t>
          </a:r>
        </a:p>
      </dsp:txBody>
      <dsp:txXfrm rot="10800000">
        <a:off x="0" y="1255993"/>
        <a:ext cx="2369478" cy="753596"/>
      </dsp:txXfrm>
    </dsp:sp>
    <dsp:sp modelId="{25185CB3-C4C7-450D-AF66-056D7518180C}">
      <dsp:nvSpPr>
        <dsp:cNvPr id="0" name=""/>
        <dsp:cNvSpPr/>
      </dsp:nvSpPr>
      <dsp:spPr>
        <a:xfrm rot="5400000">
          <a:off x="3051820" y="322453"/>
          <a:ext cx="1004795" cy="2369478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调整产品未来方向</a:t>
          </a:r>
        </a:p>
      </dsp:txBody>
      <dsp:txXfrm rot="-5400000">
        <a:off x="2369478" y="1255993"/>
        <a:ext cx="2369478" cy="753596"/>
      </dsp:txXfrm>
    </dsp:sp>
    <dsp:sp modelId="{62C56F6D-E4DE-47AE-B8BD-63B034245326}">
      <dsp:nvSpPr>
        <dsp:cNvPr id="0" name=""/>
        <dsp:cNvSpPr/>
      </dsp:nvSpPr>
      <dsp:spPr>
        <a:xfrm>
          <a:off x="1397542" y="750222"/>
          <a:ext cx="1943872" cy="509144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400" b="1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Showcase</a:t>
          </a:r>
          <a:r>
            <a:rPr lang="zh-CN" altLang="en-US" sz="1400" b="1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执行方式</a:t>
          </a:r>
        </a:p>
      </dsp:txBody>
      <dsp:txXfrm>
        <a:off x="1422396" y="775076"/>
        <a:ext cx="1894164" cy="4594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#3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default#4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ierarchy2#6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endSty" val="noArr"/>
                        <dgm:param type="begPts" val="midR"/>
                        <dgm:param type="endPts" val="midL"/>
                      </dgm:alg>
                    </dgm:if>
                    <dgm:else name="Name14">
                      <dgm:alg type="conn">
                        <dgm:param type="dim" val="1D"/>
                        <dgm:param type="endSty" val="noArr"/>
                        <dgm:param type="begPts" val="midL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#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#15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#3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#4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#5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412F50-E382-4FBA-9772-BA64B4886410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75E965-CDFB-4E3E-A1DD-1CAF89F294C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9959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sz="14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11386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20063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b="1" dirty="0"/>
          </a:p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89408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54941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12891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32277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9834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kumimoji="1" lang="zh-CN" altLang="en-US" sz="2800" baseline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55827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6699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03089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16779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24483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64032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99826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478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58777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85144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321927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0589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08039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944416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1324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2868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6059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0735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46711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0245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5E965-CDFB-4E3E-A1DD-1CAF89F294C3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3531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和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69882" y="23088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/>
                <a:latin typeface="+mn-ea"/>
                <a:ea typeface="+mn-ea"/>
              </a:defRPr>
            </a:lvl1pPr>
          </a:lstStyle>
          <a:p>
            <a:r>
              <a:rPr lang="zh-CN" altLang="en-US" dirty="0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69925" y="3565525"/>
            <a:ext cx="10852150" cy="801370"/>
          </a:xfrm>
        </p:spPr>
        <p:txBody>
          <a:bodyPr lIns="101600" tIns="38100" rIns="76200" bIns="38100" anchor="ctr" anchorCtr="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  <a:latin typeface="+mn-ea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69882" y="581225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32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n-ea"/>
                <a:ea typeface="+mn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标题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文本占位符 6"/>
          <p:cNvSpPr>
            <a:spLocks noGrp="1"/>
          </p:cNvSpPr>
          <p:nvPr>
            <p:ph type="body" idx="1" hasCustomPrompt="1"/>
          </p:nvPr>
        </p:nvSpPr>
        <p:spPr>
          <a:xfrm>
            <a:off x="669925" y="1508125"/>
            <a:ext cx="10852150" cy="4749165"/>
          </a:xfrm>
          <a:prstGeom prst="rect">
            <a:avLst/>
          </a:prstGeom>
        </p:spPr>
        <p:txBody>
          <a:bodyPr vert="horz" lIns="101600" tIns="0" rIns="82550" bIns="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zh-CN" altLang="en-US" dirty="0"/>
              <a:t>单击此处编辑正文</a:t>
            </a:r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  <a:prstGeom prst="rect">
            <a:avLst/>
          </a:prstGeom>
        </p:spPr>
        <p:txBody>
          <a:bodyPr lIns="91352" tIns="45677" rIns="91352" bIns="45677" anchor="ctr" anchorCtr="0"/>
          <a:lstStyle>
            <a:lvl1pPr>
              <a:defRPr 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marL="0" lvl="0"/>
            <a:endParaRPr lang="en-US" dirty="0"/>
          </a:p>
        </p:txBody>
      </p:sp>
      <p:sp>
        <p:nvSpPr>
          <p:cNvPr id="15" name="矩形 14"/>
          <p:cNvSpPr/>
          <p:nvPr userDrawn="1"/>
        </p:nvSpPr>
        <p:spPr bwMode="gray">
          <a:xfrm flipV="1">
            <a:off x="0" y="848535"/>
            <a:ext cx="12050973" cy="13362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50000"/>
                </a:schemeClr>
              </a:gs>
              <a:gs pos="100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0"/>
            <a:tileRect/>
          </a:gradFill>
          <a:ln w="9525" algn="ctr">
            <a:noFill/>
            <a:miter lim="800000"/>
          </a:ln>
        </p:spPr>
        <p:txBody>
          <a:bodyPr rot="10800000" vert="eaVert" wrap="none" lIns="80975" tIns="40489" rIns="80975" bIns="4048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88 cop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14767" y="3"/>
            <a:ext cx="8477249" cy="4143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" descr="Light horizontal"/>
          <p:cNvSpPr>
            <a:spLocks noChangeArrowheads="1"/>
          </p:cNvSpPr>
          <p:nvPr/>
        </p:nvSpPr>
        <p:spPr bwMode="gray">
          <a:xfrm>
            <a:off x="6" y="9526"/>
            <a:ext cx="1968500" cy="6848476"/>
          </a:xfrm>
          <a:prstGeom prst="rect">
            <a:avLst/>
          </a:prstGeom>
          <a:pattFill prst="ltHorz">
            <a:fgClr>
              <a:srgbClr val="DDDDDD"/>
            </a:fgClr>
            <a:bgClr>
              <a:srgbClr val="FFFFFF"/>
            </a:bgClr>
          </a:pattFill>
          <a:ln w="0" algn="ctr">
            <a:noFill/>
            <a:miter lim="800000"/>
          </a:ln>
          <a:effectLst/>
        </p:spPr>
        <p:txBody>
          <a:bodyPr wrap="none" lIns="109622" tIns="54812" rIns="109622" bIns="54812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160" b="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 flipV="1">
            <a:off x="0" y="3790955"/>
            <a:ext cx="12192000" cy="1106488"/>
          </a:xfrm>
          <a:prstGeom prst="rect">
            <a:avLst/>
          </a:prstGeom>
          <a:solidFill>
            <a:srgbClr val="4972BB"/>
          </a:solidFill>
          <a:ln w="0" algn="ctr">
            <a:noFill/>
            <a:miter lim="800000"/>
          </a:ln>
          <a:effectLst/>
        </p:spPr>
        <p:txBody>
          <a:bodyPr wrap="none" lIns="109622" tIns="54812" rIns="109622" bIns="54812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160" b="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ltGray">
          <a:xfrm>
            <a:off x="1966384" y="4679953"/>
            <a:ext cx="9505949" cy="504826"/>
          </a:xfrm>
          <a:prstGeom prst="roundRect">
            <a:avLst>
              <a:gd name="adj" fmla="val 16667"/>
            </a:avLst>
          </a:prstGeom>
          <a:solidFill>
            <a:srgbClr val="23387D"/>
          </a:solidFill>
          <a:ln w="38100" algn="ctr">
            <a:solidFill>
              <a:srgbClr val="FFFFFF"/>
            </a:solidFill>
            <a:round/>
          </a:ln>
          <a:effectLst/>
        </p:spPr>
        <p:txBody>
          <a:bodyPr wrap="none" lIns="109622" tIns="54812" rIns="109622" bIns="54812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160" b="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ctrTitle"/>
          </p:nvPr>
        </p:nvSpPr>
        <p:spPr bwMode="auto">
          <a:xfrm>
            <a:off x="2159040" y="3771914"/>
            <a:ext cx="9652000" cy="94297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52" tIns="45677" rIns="91352" bIns="45677"/>
          <a:lstStyle>
            <a:lvl1pPr algn="l">
              <a:defRPr sz="384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noProof="0" dirty="0"/>
              <a:t>单击此处编辑母版标题样式</a:t>
            </a:r>
          </a:p>
        </p:txBody>
      </p:sp>
      <p:sp>
        <p:nvSpPr>
          <p:cNvPr id="15" name="Rectangle 7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2152651" y="4725144"/>
            <a:ext cx="9144000" cy="381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52" tIns="45677" rIns="91352" bIns="45677"/>
          <a:lstStyle>
            <a:lvl1pPr marL="0" indent="0">
              <a:buFont typeface="Wingdings" panose="05000000000000000000" pitchFamily="2" charset="2"/>
              <a:buNone/>
              <a:defRPr sz="24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noProof="0" dirty="0"/>
              <a:t>单击此处编辑母版副标题样式</a:t>
            </a:r>
          </a:p>
        </p:txBody>
      </p:sp>
      <p:pic>
        <p:nvPicPr>
          <p:cNvPr id="17" name="Picture 16" descr="logonew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26001" y="5635015"/>
            <a:ext cx="25400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 userDrawn="1"/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rtlCol="0" anchor="ctr"/>
          <a:lstStyle/>
          <a:p>
            <a:pPr algn="ctr"/>
            <a:endParaRPr lang="zh-CN" altLang="en-US"/>
          </a:p>
        </p:txBody>
      </p:sp>
      <p:sp>
        <p:nvSpPr>
          <p:cNvPr id="11" name="Rectangle 3" descr="Light horizontal"/>
          <p:cNvSpPr>
            <a:spLocks noChangeArrowheads="1"/>
          </p:cNvSpPr>
          <p:nvPr userDrawn="1"/>
        </p:nvSpPr>
        <p:spPr bwMode="gray">
          <a:xfrm>
            <a:off x="7" y="7942"/>
            <a:ext cx="2272548" cy="6850061"/>
          </a:xfrm>
          <a:prstGeom prst="rect">
            <a:avLst/>
          </a:prstGeom>
          <a:pattFill prst="ltHorz">
            <a:fgClr>
              <a:srgbClr val="DDDDDD"/>
            </a:fgClr>
            <a:bgClr>
              <a:srgbClr val="FFFFFF"/>
            </a:bgClr>
          </a:pattFill>
          <a:ln w="0" algn="ctr">
            <a:noFill/>
            <a:miter lim="800000"/>
          </a:ln>
          <a:effectLst/>
        </p:spPr>
        <p:txBody>
          <a:bodyPr wrap="none" lIns="101495" tIns="50749" rIns="101495" bIns="5074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100" b="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-16" y="3117731"/>
            <a:ext cx="12192000" cy="2072836"/>
          </a:xfrm>
          <a:prstGeom prst="rect">
            <a:avLst/>
          </a:prstGeom>
          <a:solidFill>
            <a:schemeClr val="accent5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rtlCol="0" anchor="ctr"/>
          <a:lstStyle/>
          <a:p>
            <a:pPr algn="ctr"/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  <p:pic>
        <p:nvPicPr>
          <p:cNvPr id="12" name="Picture 2" descr="88 copy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27630" y="7941"/>
            <a:ext cx="7064375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6" descr="logonew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06798" y="6016722"/>
            <a:ext cx="1778412" cy="51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标题与图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>
          <a:xfrm>
            <a:off x="840105" y="727710"/>
            <a:ext cx="3931920" cy="1115060"/>
          </a:xfrm>
        </p:spPr>
        <p:txBody>
          <a:bodyPr anchor="ctr" anchorCtr="0"/>
          <a:lstStyle>
            <a:lvl1pPr>
              <a:defRPr sz="3200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6" name="内容占位符 5"/>
          <p:cNvSpPr>
            <a:spLocks noGrp="1"/>
          </p:cNvSpPr>
          <p:nvPr>
            <p:ph idx="1" hasCustomPrompt="1"/>
          </p:nvPr>
        </p:nvSpPr>
        <p:spPr>
          <a:xfrm>
            <a:off x="5138420" y="727710"/>
            <a:ext cx="6172200" cy="5403215"/>
          </a:xfrm>
        </p:spPr>
        <p:txBody>
          <a:bodyPr/>
          <a:lstStyle>
            <a:lvl1pPr>
              <a:defRPr sz="2400">
                <a:latin typeface="+mn-ea"/>
                <a:ea typeface="+mn-ea"/>
              </a:defRPr>
            </a:lvl1pPr>
            <a:lvl2pPr marL="457200" indent="0">
              <a:buNone/>
              <a:defRPr sz="2400">
                <a:latin typeface="+mn-ea"/>
                <a:ea typeface="+mn-ea"/>
              </a:defRPr>
            </a:lvl2pPr>
            <a:lvl3pPr>
              <a:defRPr sz="2400">
                <a:latin typeface="+mn-ea"/>
                <a:ea typeface="+mn-ea"/>
              </a:defRPr>
            </a:lvl3pPr>
            <a:lvl4pPr>
              <a:defRPr sz="2400">
                <a:latin typeface="+mn-ea"/>
                <a:ea typeface="+mn-ea"/>
              </a:defRPr>
            </a:lvl4pPr>
            <a:lvl5pPr>
              <a:defRPr sz="2400">
                <a:latin typeface="+mn-ea"/>
                <a:ea typeface="+mn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正文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half" idx="2" hasCustomPrompt="1"/>
          </p:nvPr>
        </p:nvSpPr>
        <p:spPr>
          <a:xfrm>
            <a:off x="840105" y="2239645"/>
            <a:ext cx="3931920" cy="3891915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latin typeface="+mn-ea"/>
                <a:ea typeface="+mn-ea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正文</a:t>
            </a:r>
          </a:p>
          <a:p>
            <a:pPr lvl="0"/>
            <a:r>
              <a:rPr lang="zh-CN" altLang="en-US">
                <a:sym typeface="+mn-ea"/>
              </a:rPr>
              <a:t>单击此处编辑正文</a:t>
            </a:r>
            <a:endParaRPr lang="zh-CN" altLang="en-US"/>
          </a:p>
          <a:p>
            <a:pPr lvl="0"/>
            <a:r>
              <a:rPr lang="zh-CN" altLang="en-US">
                <a:sym typeface="+mn-ea"/>
              </a:rPr>
              <a:t>单击此处编辑正文</a:t>
            </a:r>
            <a:endParaRPr lang="zh-CN" altLang="en-US"/>
          </a:p>
          <a:p>
            <a:pPr lvl="0"/>
            <a:r>
              <a:rPr lang="zh-CN" altLang="en-US">
                <a:sym typeface="+mn-ea"/>
              </a:rPr>
              <a:t>单击此处编辑正文</a:t>
            </a:r>
          </a:p>
          <a:p>
            <a:pPr lvl="0"/>
            <a:r>
              <a:rPr lang="zh-CN" altLang="en-US">
                <a:sym typeface="+mn-ea"/>
              </a:rPr>
              <a:t>单击此处编辑正文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注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>
          <a:xfrm>
            <a:off x="669925" y="5605145"/>
            <a:ext cx="10852150" cy="558165"/>
          </a:xfrm>
        </p:spPr>
        <p:txBody>
          <a:bodyPr/>
          <a:lstStyle>
            <a:lvl1pPr>
              <a:defRPr b="0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正文</a:t>
            </a:r>
          </a:p>
        </p:txBody>
      </p:sp>
      <p:sp>
        <p:nvSpPr>
          <p:cNvPr id="8" name="内容占位符 7"/>
          <p:cNvSpPr>
            <a:spLocks noGrp="1"/>
          </p:cNvSpPr>
          <p:nvPr>
            <p:ph idx="1" hasCustomPrompt="1"/>
          </p:nvPr>
        </p:nvSpPr>
        <p:spPr>
          <a:xfrm>
            <a:off x="669925" y="641350"/>
            <a:ext cx="10852150" cy="4556125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457200" marR="0" lvl="1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正文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单张大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6445" cy="686816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457200" marR="0" lvl="1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正文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联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内容占位符 1"/>
          <p:cNvSpPr>
            <a:spLocks noGrp="1"/>
          </p:cNvSpPr>
          <p:nvPr>
            <p:ph sz="half" idx="2" hasCustomPrompt="1"/>
          </p:nvPr>
        </p:nvSpPr>
        <p:spPr>
          <a:xfrm>
            <a:off x="467995" y="565150"/>
            <a:ext cx="5400040" cy="572770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正文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half" idx="13" hasCustomPrompt="1"/>
          </p:nvPr>
        </p:nvSpPr>
        <p:spPr>
          <a:xfrm>
            <a:off x="6287770" y="565150"/>
            <a:ext cx="5400040" cy="572770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</a:t>
            </a:r>
            <a:r>
              <a:rPr>
                <a:sym typeface="+mn-ea"/>
              </a:rPr>
              <a:t>正文</a:t>
            </a:r>
            <a:endParaRPr dirty="0">
              <a:sym typeface="+mn-ea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69882" y="623591"/>
            <a:ext cx="10852237" cy="899167"/>
          </a:xfrm>
        </p:spPr>
        <p:txBody>
          <a:bodyPr vert="horz" lIns="101600" tIns="38100" rIns="25400" bIns="38100" rtlCol="0" anchor="ctr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3200" b="0" i="0" u="none" strike="noStrike" kern="1200" cap="none" spc="600" normalizeH="0" baseline="0" noProof="1" dirty="0">
                <a:solidFill>
                  <a:schemeClr val="tx1"/>
                </a:solidFill>
                <a:effectLst/>
                <a:uFillTx/>
                <a:latin typeface="+mn-ea"/>
                <a:ea typeface="+mn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ea"/>
              </a:defRPr>
            </a:lvl1pPr>
          </a:lstStyle>
          <a:p>
            <a:fld id="{760FBDFE-C587-4B4C-A407-44438C67B59E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7" name="KSO_TEMPLATE" hidden="1"/>
          <p:cNvSpPr/>
          <p:nvPr userDrawn="1"/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7"/>
          <p:cNvSpPr>
            <a:spLocks noGrp="1"/>
          </p:cNvSpPr>
          <p:nvPr>
            <p:ph type="title" hasCustomPrompt="1"/>
          </p:nvPr>
        </p:nvSpPr>
        <p:spPr>
          <a:xfrm>
            <a:off x="669882" y="581225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32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n-ea"/>
                <a:ea typeface="+mn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标题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idx="1" hasCustomPrompt="1"/>
          </p:nvPr>
        </p:nvSpPr>
        <p:spPr>
          <a:xfrm>
            <a:off x="669925" y="1508125"/>
            <a:ext cx="10852150" cy="4749165"/>
          </a:xfrm>
          <a:prstGeom prst="rect">
            <a:avLst/>
          </a:prstGeom>
        </p:spPr>
        <p:txBody>
          <a:bodyPr vert="horz" lIns="101600" tIns="0" rIns="82550" bIns="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zh-CN" altLang="en-US" dirty="0"/>
              <a:t>单击此处编辑正文</a:t>
            </a:r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2800" b="1" u="none" strike="noStrike" kern="1200" cap="none" spc="200" normalizeH="0">
          <a:solidFill>
            <a:schemeClr val="tx1"/>
          </a:solidFill>
          <a:uFillTx/>
          <a:latin typeface="+mn-ea"/>
          <a:ea typeface="+mn-ea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1pPr>
      <a:lvl2pPr marL="6858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>
          <a:tab pos="1609725" algn="l"/>
        </a:tabLst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2pPr>
      <a:lvl3pPr marL="11430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3pPr>
      <a:lvl4pPr marL="16002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4pPr>
      <a:lvl5pPr marL="20574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393764-4BC0-42CC-9259-56943A3E8E49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7E740D-9629-4C38-9CBE-FDBE42E7464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9.emf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13" Type="http://schemas.openxmlformats.org/officeDocument/2006/relationships/image" Target="../media/image25.emf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5" Type="http://schemas.openxmlformats.org/officeDocument/2006/relationships/diagramQuickStyle" Target="../diagrams/quickStyle7.xml"/><Relationship Id="rId10" Type="http://schemas.openxmlformats.org/officeDocument/2006/relationships/diagramQuickStyle" Target="../diagrams/quickStyle8.xml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7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link.jianshu.com/?t=http://book.51cto.com/art/201406/442352.htm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29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1.xml"/><Relationship Id="rId13" Type="http://schemas.openxmlformats.org/officeDocument/2006/relationships/image" Target="../media/image30.emf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12" Type="http://schemas.microsoft.com/office/2007/relationships/diagramDrawing" Target="../diagrams/drawing1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10.xml"/><Relationship Id="rId11" Type="http://schemas.openxmlformats.org/officeDocument/2006/relationships/diagramColors" Target="../diagrams/colors11.xml"/><Relationship Id="rId5" Type="http://schemas.openxmlformats.org/officeDocument/2006/relationships/diagramQuickStyle" Target="../diagrams/quickStyle10.xml"/><Relationship Id="rId10" Type="http://schemas.openxmlformats.org/officeDocument/2006/relationships/diagramQuickStyle" Target="../diagrams/quickStyle11.xml"/><Relationship Id="rId4" Type="http://schemas.openxmlformats.org/officeDocument/2006/relationships/diagramLayout" Target="../diagrams/layout10.xml"/><Relationship Id="rId9" Type="http://schemas.openxmlformats.org/officeDocument/2006/relationships/diagramLayout" Target="../diagrams/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hyperlink" Target="https://cloud.baidu-int.com/icloud/iCafe/&#22914;&#20309;&#20351;&#29992;/&#25253;&#34920;&#32479;&#35745;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iki.baidu.com/pages/viewpage.action?pageId=1326690547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11505" y="2118"/>
          <a:ext cx="1904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505" y="2118"/>
                        <a:ext cx="1904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906419" y="2881251"/>
            <a:ext cx="6193114" cy="1963881"/>
          </a:xfrm>
        </p:spPr>
        <p:txBody>
          <a:bodyPr anchor="ctr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程效能提升：</a:t>
            </a:r>
            <a:br>
              <a:rPr lang="en-US" altLang="zh-CN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捷实践应用分享</a:t>
            </a:r>
            <a:endParaRPr lang="zh-CN" alt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214C4A6-5D57-744F-A32B-D20540A2C122}"/>
              </a:ext>
            </a:extLst>
          </p:cNvPr>
          <p:cNvSpPr txBox="1"/>
          <p:nvPr/>
        </p:nvSpPr>
        <p:spPr>
          <a:xfrm>
            <a:off x="5237018" y="4845132"/>
            <a:ext cx="1531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1</a:t>
            </a:r>
            <a:r>
              <a:rPr kumimoji="1" lang="zh-CN" altLang="en-US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</a:t>
            </a:r>
            <a:r>
              <a:rPr kumimoji="1" lang="en-US" altLang="zh-CN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1</a:t>
            </a:r>
            <a:r>
              <a:rPr kumimoji="1" lang="zh-CN" altLang="en-US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30E9BF81-FB5E-EE4A-AE38-A8FC62BAB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2.</a:t>
            </a:r>
            <a:r>
              <a:rPr lang="zh-CN" altLang="en-US" dirty="0">
                <a:sym typeface="+mn-ea"/>
              </a:rPr>
              <a:t> 敏捷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常见的敏捷实践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graphicFrame>
        <p:nvGraphicFramePr>
          <p:cNvPr id="4" name="内容占位符 10">
            <a:extLst>
              <a:ext uri="{FF2B5EF4-FFF2-40B4-BE49-F238E27FC236}">
                <a16:creationId xmlns:a16="http://schemas.microsoft.com/office/drawing/2014/main" id="{6461FE2A-908D-8443-9788-1B124C5343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6450668"/>
              </p:ext>
            </p:extLst>
          </p:nvPr>
        </p:nvGraphicFramePr>
        <p:xfrm>
          <a:off x="1315844" y="1338146"/>
          <a:ext cx="9902283" cy="46814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06006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B94B030-C86C-B04C-A643-16AB14BD894B}"/>
              </a:ext>
            </a:extLst>
          </p:cNvPr>
          <p:cNvSpPr txBox="1"/>
          <p:nvPr/>
        </p:nvSpPr>
        <p:spPr>
          <a:xfrm>
            <a:off x="127000" y="932557"/>
            <a:ext cx="4963885" cy="55018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产品负责人 </a:t>
            </a:r>
            <a:r>
              <a: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lang="en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roduct Owner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团队对外交付的价值负责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义需求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义需求的优先级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义需求的验收标准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义产品发布内容与日期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敏捷教练 </a:t>
            </a:r>
            <a:r>
              <a: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lang="en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crum Master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帮助团队遵循</a:t>
            </a:r>
            <a:r>
              <a:rPr lang="en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crum 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框架并持续改进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促进团队的工作，保护团队不受打扰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帮助团队熟悉与掌握 </a:t>
            </a:r>
            <a:r>
              <a:rPr lang="en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crum 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价值观与框架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帮助团队排除影响生产力的障碍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团队 </a:t>
            </a:r>
            <a:r>
              <a: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lang="en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crum Team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crum team 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交付成果负责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跨职能部门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组织式的团队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而美</a:t>
            </a: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2200361B-6549-A347-82F3-6164620E0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3.</a:t>
            </a:r>
            <a:r>
              <a:rPr lang="zh-CN" altLang="en-US" dirty="0">
                <a:sym typeface="+mn-ea"/>
              </a:rPr>
              <a:t> 敏捷实践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en-US" altLang="zh-CN" sz="1800" dirty="0">
                <a:solidFill>
                  <a:schemeClr val="accent1"/>
                </a:solidFill>
                <a:sym typeface="+mn-ea"/>
              </a:rPr>
              <a:t>Scrum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框架：角色和流程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9523A939-C6F4-F74A-BA60-0B2DD1F03E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9746" y="1402326"/>
            <a:ext cx="6614168" cy="4572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5438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2200361B-6549-A347-82F3-6164620E0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3.</a:t>
            </a:r>
            <a:r>
              <a:rPr lang="zh-CN" altLang="en-US" dirty="0">
                <a:sym typeface="+mn-ea"/>
              </a:rPr>
              <a:t> 敏捷实践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 </a:t>
            </a:r>
            <a:r>
              <a:rPr kumimoji="1" lang="en-US" altLang="zh-CN" sz="1800" dirty="0">
                <a:solidFill>
                  <a:schemeClr val="accent1"/>
                </a:solidFill>
                <a:sym typeface="+mn-ea"/>
              </a:rPr>
              <a:t>Scrum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框架：落地应用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C2EFFFA-A384-574D-AFDB-4833A15531CD}"/>
              </a:ext>
            </a:extLst>
          </p:cNvPr>
          <p:cNvGrpSpPr/>
          <p:nvPr/>
        </p:nvGrpSpPr>
        <p:grpSpPr>
          <a:xfrm>
            <a:off x="2660740" y="4263568"/>
            <a:ext cx="2109851" cy="1903072"/>
            <a:chOff x="5412790" y="1586157"/>
            <a:chExt cx="2215344" cy="1998226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61D85147-F562-A141-8D82-A9CB6C376DE6}"/>
                </a:ext>
              </a:extLst>
            </p:cNvPr>
            <p:cNvSpPr txBox="1"/>
            <p:nvPr/>
          </p:nvSpPr>
          <p:spPr>
            <a:xfrm>
              <a:off x="5412790" y="1586157"/>
              <a:ext cx="2215344" cy="8357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③小粒度需求，渐进明细；按高优需求，定期规划</a:t>
              </a: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9DE998EF-B83F-EB41-AD26-44C614B33FCC}"/>
                </a:ext>
              </a:extLst>
            </p:cNvPr>
            <p:cNvGrpSpPr/>
            <p:nvPr/>
          </p:nvGrpSpPr>
          <p:grpSpPr>
            <a:xfrm>
              <a:off x="5609142" y="2491960"/>
              <a:ext cx="1749968" cy="1092423"/>
              <a:chOff x="5609142" y="2772220"/>
              <a:chExt cx="1749968" cy="1092423"/>
            </a:xfrm>
          </p:grpSpPr>
          <p:sp>
            <p:nvSpPr>
              <p:cNvPr id="9" name="Shape 1427">
                <a:extLst>
                  <a:ext uri="{FF2B5EF4-FFF2-40B4-BE49-F238E27FC236}">
                    <a16:creationId xmlns:a16="http://schemas.microsoft.com/office/drawing/2014/main" id="{569A752B-3227-C641-B23D-53DD9EA38274}"/>
                  </a:ext>
                </a:extLst>
              </p:cNvPr>
              <p:cNvSpPr/>
              <p:nvPr/>
            </p:nvSpPr>
            <p:spPr>
              <a:xfrm>
                <a:off x="5609142" y="2772220"/>
                <a:ext cx="1749968" cy="1092423"/>
              </a:xfrm>
              <a:prstGeom prst="ellipse">
                <a:avLst/>
              </a:prstGeom>
              <a:noFill/>
              <a:ln w="190500" cap="flat">
                <a:solidFill>
                  <a:srgbClr val="676767"/>
                </a:solidFill>
                <a:prstDash val="solid"/>
                <a:miter lim="800000"/>
              </a:ln>
              <a:effectLst/>
            </p:spPr>
            <p:txBody>
              <a:bodyPr wrap="square" lIns="87085" tIns="87085" rIns="87085" bIns="87085" numCol="1" anchor="t">
                <a:noAutofit/>
              </a:bodyPr>
              <a:lstStyle/>
              <a:p>
                <a:pPr defTabSz="1224667">
                  <a:defRPr sz="1600">
                    <a:latin typeface="Microsoft YaHei"/>
                    <a:ea typeface="Microsoft YaHei"/>
                    <a:cs typeface="Microsoft YaHei"/>
                    <a:sym typeface="Microsoft YaHei"/>
                  </a:defRPr>
                </a:pPr>
                <a:endParaRPr sz="1333"/>
              </a:p>
            </p:txBody>
          </p:sp>
          <p:sp>
            <p:nvSpPr>
              <p:cNvPr id="10" name="Shape 1429">
                <a:extLst>
                  <a:ext uri="{FF2B5EF4-FFF2-40B4-BE49-F238E27FC236}">
                    <a16:creationId xmlns:a16="http://schemas.microsoft.com/office/drawing/2014/main" id="{D6400B17-9280-0245-A366-095FB657C511}"/>
                  </a:ext>
                </a:extLst>
              </p:cNvPr>
              <p:cNvSpPr/>
              <p:nvPr/>
            </p:nvSpPr>
            <p:spPr>
              <a:xfrm>
                <a:off x="5896744" y="2995590"/>
                <a:ext cx="1186783" cy="64612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/>
              <a:p>
                <a:pPr algn="ctr" defTabSz="1224667">
                  <a:defRPr sz="1600"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sz="1333" dirty="0" err="1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随时登记</a:t>
                </a:r>
                <a:endParaRPr sz="1333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  <a:p>
                <a:pPr algn="ctr" defTabSz="1224667">
                  <a:defRPr sz="1600"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sz="1333" dirty="0" err="1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日常细化</a:t>
                </a:r>
                <a:endParaRPr sz="1333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  <a:p>
                <a:pPr algn="ctr" defTabSz="1224667">
                  <a:defRPr sz="1600">
                    <a:latin typeface="Helvetica"/>
                    <a:ea typeface="Helvetica"/>
                    <a:cs typeface="Helvetica"/>
                    <a:sym typeface="Helvetica"/>
                  </a:defRPr>
                </a:pPr>
                <a:r>
                  <a:rPr sz="1333" dirty="0" err="1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迭代规划</a:t>
                </a:r>
                <a:endParaRPr sz="1333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D021C6A3-1E0C-364F-9DB8-38A564CA1C4F}"/>
              </a:ext>
            </a:extLst>
          </p:cNvPr>
          <p:cNvSpPr txBox="1"/>
          <p:nvPr/>
        </p:nvSpPr>
        <p:spPr>
          <a:xfrm>
            <a:off x="594062" y="2849547"/>
            <a:ext cx="1671708" cy="561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24" dirty="0">
                <a:latin typeface="微软雅黑" panose="020B0503020204020204" pitchFamily="34" charset="-122"/>
                <a:ea typeface="微软雅黑" panose="020B0503020204020204" pitchFamily="34" charset="-122"/>
              </a:rPr>
              <a:t>①按产品组建跨角色团队</a:t>
            </a: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8C48748-F549-C744-B049-F2969AE22D1A}"/>
              </a:ext>
            </a:extLst>
          </p:cNvPr>
          <p:cNvGrpSpPr/>
          <p:nvPr/>
        </p:nvGrpSpPr>
        <p:grpSpPr>
          <a:xfrm>
            <a:off x="2666898" y="1072030"/>
            <a:ext cx="2073554" cy="2880320"/>
            <a:chOff x="2824323" y="1886629"/>
            <a:chExt cx="2177232" cy="1865607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1478BFED-57F0-024C-820E-A8B17DE7A6A9}"/>
                </a:ext>
              </a:extLst>
            </p:cNvPr>
            <p:cNvSpPr txBox="1"/>
            <p:nvPr/>
          </p:nvSpPr>
          <p:spPr>
            <a:xfrm>
              <a:off x="2824323" y="1886629"/>
              <a:ext cx="2177232" cy="3636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②统一需求入口，唯一产品负责人（</a:t>
              </a:r>
              <a:r>
                <a:rPr lang="en-US" altLang="zh-CN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O</a:t>
              </a:r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3CA65667-D38C-EB45-A7E5-67E55CA9A509}"/>
                </a:ext>
              </a:extLst>
            </p:cNvPr>
            <p:cNvGrpSpPr/>
            <p:nvPr/>
          </p:nvGrpSpPr>
          <p:grpSpPr>
            <a:xfrm>
              <a:off x="3124168" y="2165671"/>
              <a:ext cx="1715737" cy="1586565"/>
              <a:chOff x="2548105" y="2477569"/>
              <a:chExt cx="1497260" cy="1940986"/>
            </a:xfrm>
          </p:grpSpPr>
          <p:sp>
            <p:nvSpPr>
              <p:cNvPr id="15" name="Shape 1091">
                <a:extLst>
                  <a:ext uri="{FF2B5EF4-FFF2-40B4-BE49-F238E27FC236}">
                    <a16:creationId xmlns:a16="http://schemas.microsoft.com/office/drawing/2014/main" id="{C4FDAA66-8090-A54E-AC6A-6A0FD9EAA11F}"/>
                  </a:ext>
                </a:extLst>
              </p:cNvPr>
              <p:cNvSpPr/>
              <p:nvPr/>
            </p:nvSpPr>
            <p:spPr>
              <a:xfrm>
                <a:off x="3013827" y="2955798"/>
                <a:ext cx="398992" cy="368663"/>
              </a:xfrm>
              <a:prstGeom prst="pentagon">
                <a:avLst/>
              </a:prstGeom>
              <a:solidFill>
                <a:srgbClr val="A3D979"/>
              </a:solidFill>
              <a:ln w="12700" cap="flat">
                <a:noFill/>
                <a:miter lim="400000"/>
              </a:ln>
              <a:effectLst>
                <a:outerShdw blurRad="12700" dist="25400" dir="2700000" rotWithShape="0">
                  <a:srgbClr val="EEECE1">
                    <a:alpha val="75000"/>
                  </a:srgbClr>
                </a:outerShdw>
              </a:effectLst>
            </p:spPr>
            <p:txBody>
              <a:bodyPr wrap="square" lIns="61231" tIns="61231" rIns="61231" bIns="61231" numCol="1" anchor="t">
                <a:noAutofit/>
              </a:bodyPr>
              <a:lstStyle/>
              <a:p>
                <a:pPr defTabSz="1224667">
                  <a:defRPr sz="1200">
                    <a:latin typeface="Microsoft YaHei"/>
                    <a:ea typeface="Microsoft YaHei"/>
                    <a:cs typeface="Microsoft YaHei"/>
                    <a:sym typeface="Microsoft YaHei"/>
                  </a:defRPr>
                </a:pPr>
                <a:endParaRPr sz="1048"/>
              </a:p>
            </p:txBody>
          </p:sp>
          <p:sp>
            <p:nvSpPr>
              <p:cNvPr id="16" name="Shape 1092">
                <a:extLst>
                  <a:ext uri="{FF2B5EF4-FFF2-40B4-BE49-F238E27FC236}">
                    <a16:creationId xmlns:a16="http://schemas.microsoft.com/office/drawing/2014/main" id="{2770F7C2-0F4B-E444-BAD7-4B3A215D36B1}"/>
                  </a:ext>
                </a:extLst>
              </p:cNvPr>
              <p:cNvSpPr/>
              <p:nvPr/>
            </p:nvSpPr>
            <p:spPr>
              <a:xfrm>
                <a:off x="3036626" y="2815961"/>
                <a:ext cx="351969" cy="242516"/>
              </a:xfrm>
              <a:prstGeom prst="ellipse">
                <a:avLst/>
              </a:prstGeom>
              <a:solidFill>
                <a:srgbClr val="FFEBB1"/>
              </a:solidFill>
              <a:ln w="12700" cap="flat">
                <a:noFill/>
                <a:miter lim="400000"/>
              </a:ln>
              <a:effectLst>
                <a:outerShdw blurRad="12700" dist="25400" dir="2700000" rotWithShape="0">
                  <a:srgbClr val="EEECE1">
                    <a:alpha val="75000"/>
                  </a:srgbClr>
                </a:outerShdw>
              </a:effectLst>
            </p:spPr>
            <p:txBody>
              <a:bodyPr wrap="square" lIns="61231" tIns="61231" rIns="61231" bIns="61231" numCol="1" anchor="t">
                <a:noAutofit/>
              </a:bodyPr>
              <a:lstStyle/>
              <a:p>
                <a:pPr defTabSz="1224667">
                  <a:defRPr sz="1200">
                    <a:latin typeface="Microsoft YaHei"/>
                    <a:ea typeface="Microsoft YaHei"/>
                    <a:cs typeface="Microsoft YaHei"/>
                    <a:sym typeface="Microsoft YaHei"/>
                  </a:defRPr>
                </a:pPr>
                <a:endParaRPr sz="1048"/>
              </a:p>
            </p:txBody>
          </p:sp>
          <p:pic>
            <p:nvPicPr>
              <p:cNvPr id="17" name="图片 16">
                <a:extLst>
                  <a:ext uri="{FF2B5EF4-FFF2-40B4-BE49-F238E27FC236}">
                    <a16:creationId xmlns:a16="http://schemas.microsoft.com/office/drawing/2014/main" id="{75D9F07C-96E1-1545-976E-8F3157FE36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48105" y="2590571"/>
                <a:ext cx="1352473" cy="1549781"/>
              </a:xfrm>
              <a:prstGeom prst="rect">
                <a:avLst/>
              </a:prstGeom>
            </p:spPr>
          </p:pic>
          <p:sp>
            <p:nvSpPr>
              <p:cNvPr id="18" name="Shape 1094">
                <a:extLst>
                  <a:ext uri="{FF2B5EF4-FFF2-40B4-BE49-F238E27FC236}">
                    <a16:creationId xmlns:a16="http://schemas.microsoft.com/office/drawing/2014/main" id="{A004088E-BEB7-C94C-9DCB-0620FF5C3E01}"/>
                  </a:ext>
                </a:extLst>
              </p:cNvPr>
              <p:cNvSpPr/>
              <p:nvPr/>
            </p:nvSpPr>
            <p:spPr>
              <a:xfrm>
                <a:off x="3041347" y="2885164"/>
                <a:ext cx="349769" cy="44324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8381" tIns="48381" rIns="48381" bIns="48381" numCol="1" anchor="ctr">
                <a:spAutoFit/>
              </a:bodyPr>
              <a:lstStyle>
                <a:lvl1pPr>
                  <a:defRPr sz="1100" b="1">
                    <a:latin typeface="Helvetica"/>
                    <a:ea typeface="Helvetica"/>
                    <a:cs typeface="Helvetica"/>
                    <a:sym typeface="Helvetica"/>
                  </a:defRPr>
                </a:lvl1pPr>
              </a:lstStyle>
              <a:p>
                <a:pPr algn="ctr"/>
                <a:r>
                  <a:rPr lang="en-US" altLang="zh-CN" sz="1000" b="0" dirty="0" err="1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PM</a:t>
                </a:r>
                <a:r>
                  <a:rPr sz="1000" b="0" dirty="0" err="1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负责人</a:t>
                </a:r>
                <a:endParaRPr sz="1000" b="0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19" name="Shape 1078">
                <a:extLst>
                  <a:ext uri="{FF2B5EF4-FFF2-40B4-BE49-F238E27FC236}">
                    <a16:creationId xmlns:a16="http://schemas.microsoft.com/office/drawing/2014/main" id="{D8CCC603-B682-C341-A5C2-39D7FC13F644}"/>
                  </a:ext>
                </a:extLst>
              </p:cNvPr>
              <p:cNvSpPr/>
              <p:nvPr/>
            </p:nvSpPr>
            <p:spPr>
              <a:xfrm>
                <a:off x="2685687" y="4078261"/>
                <a:ext cx="1098628" cy="34029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87085" tIns="87085" rIns="87085" bIns="87085" numCol="1" anchor="t">
                <a:noAutofit/>
              </a:bodyPr>
              <a:lstStyle>
                <a:lvl1pPr defTabSz="1285875">
                  <a:defRPr sz="1600">
                    <a:latin typeface="Helvetica"/>
                    <a:ea typeface="Helvetica"/>
                    <a:cs typeface="Helvetica"/>
                    <a:sym typeface="Helvetica"/>
                  </a:defRPr>
                </a:lvl1pPr>
              </a:lstStyle>
              <a:p>
                <a:pPr algn="ctr"/>
                <a:r>
                  <a:rPr lang="zh-CN" altLang="en-US" sz="1143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产品</a:t>
                </a:r>
                <a:r>
                  <a:rPr sz="1143" dirty="0" err="1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需求池</a:t>
                </a:r>
                <a:endParaRPr sz="1143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cxnSp>
            <p:nvCxnSpPr>
              <p:cNvPr id="20" name="直接箭头连接符 21">
                <a:extLst>
                  <a:ext uri="{FF2B5EF4-FFF2-40B4-BE49-F238E27FC236}">
                    <a16:creationId xmlns:a16="http://schemas.microsoft.com/office/drawing/2014/main" id="{BFB9BEA2-B438-184A-9456-A3ED7314DB85}"/>
                  </a:ext>
                </a:extLst>
              </p:cNvPr>
              <p:cNvCxnSpPr/>
              <p:nvPr/>
            </p:nvCxnSpPr>
            <p:spPr>
              <a:xfrm>
                <a:off x="3784315" y="2653409"/>
                <a:ext cx="0" cy="1016901"/>
              </a:xfrm>
              <a:prstGeom prst="straightConnector1">
                <a:avLst/>
              </a:prstGeom>
              <a:ln>
                <a:solidFill>
                  <a:schemeClr val="accent5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Shape 1078">
                <a:extLst>
                  <a:ext uri="{FF2B5EF4-FFF2-40B4-BE49-F238E27FC236}">
                    <a16:creationId xmlns:a16="http://schemas.microsoft.com/office/drawing/2014/main" id="{D6BB7BA7-C8B3-664D-983F-ADBCA33BF4E3}"/>
                  </a:ext>
                </a:extLst>
              </p:cNvPr>
              <p:cNvSpPr/>
              <p:nvPr/>
            </p:nvSpPr>
            <p:spPr>
              <a:xfrm>
                <a:off x="3520480" y="3666281"/>
                <a:ext cx="524885" cy="28932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87085" tIns="87085" rIns="87085" bIns="87085" numCol="1" anchor="t">
                <a:noAutofit/>
              </a:bodyPr>
              <a:lstStyle>
                <a:lvl1pPr defTabSz="1285875">
                  <a:defRPr sz="1600">
                    <a:latin typeface="Helvetica"/>
                    <a:ea typeface="Helvetica"/>
                    <a:cs typeface="Helvetica"/>
                    <a:sym typeface="Helvetica"/>
                  </a:defRPr>
                </a:lvl1pPr>
              </a:lstStyle>
              <a:p>
                <a:pPr algn="ctr"/>
                <a:r>
                  <a:rPr lang="zh-CN" altLang="en-US" sz="1143" dirty="0"/>
                  <a:t>低</a:t>
                </a:r>
                <a:endParaRPr sz="1143" dirty="0"/>
              </a:p>
            </p:txBody>
          </p:sp>
          <p:sp>
            <p:nvSpPr>
              <p:cNvPr id="22" name="Shape 1078">
                <a:extLst>
                  <a:ext uri="{FF2B5EF4-FFF2-40B4-BE49-F238E27FC236}">
                    <a16:creationId xmlns:a16="http://schemas.microsoft.com/office/drawing/2014/main" id="{A9BCA489-9A2D-E74C-8878-8F521945C6D6}"/>
                  </a:ext>
                </a:extLst>
              </p:cNvPr>
              <p:cNvSpPr/>
              <p:nvPr/>
            </p:nvSpPr>
            <p:spPr>
              <a:xfrm>
                <a:off x="3520480" y="2477569"/>
                <a:ext cx="524885" cy="28932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87085" tIns="87085" rIns="87085" bIns="87085" numCol="1" anchor="t">
                <a:noAutofit/>
              </a:bodyPr>
              <a:lstStyle>
                <a:lvl1pPr defTabSz="1285875">
                  <a:defRPr sz="1600">
                    <a:latin typeface="Helvetica"/>
                    <a:ea typeface="Helvetica"/>
                    <a:cs typeface="Helvetica"/>
                    <a:sym typeface="Helvetica"/>
                  </a:defRPr>
                </a:lvl1pPr>
              </a:lstStyle>
              <a:p>
                <a:pPr algn="ctr"/>
                <a:r>
                  <a:rPr lang="zh-CN" altLang="en-US" sz="1143" dirty="0"/>
                  <a:t>高</a:t>
                </a:r>
                <a:endParaRPr sz="1143" dirty="0"/>
              </a:p>
            </p:txBody>
          </p:sp>
        </p:grp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2E0FA435-BDF9-4443-A582-085CD0D3D827}"/>
              </a:ext>
            </a:extLst>
          </p:cNvPr>
          <p:cNvGrpSpPr/>
          <p:nvPr/>
        </p:nvGrpSpPr>
        <p:grpSpPr>
          <a:xfrm>
            <a:off x="6466708" y="1201822"/>
            <a:ext cx="5303495" cy="605477"/>
            <a:chOff x="7593110" y="3231548"/>
            <a:chExt cx="4377162" cy="383892"/>
          </a:xfrm>
        </p:grpSpPr>
        <p:sp>
          <p:nvSpPr>
            <p:cNvPr id="24" name="任意多边形 29">
              <a:extLst>
                <a:ext uri="{FF2B5EF4-FFF2-40B4-BE49-F238E27FC236}">
                  <a16:creationId xmlns:a16="http://schemas.microsoft.com/office/drawing/2014/main" id="{0EF78318-18F3-8148-B3BD-AF80A08AD069}"/>
                </a:ext>
              </a:extLst>
            </p:cNvPr>
            <p:cNvSpPr/>
            <p:nvPr/>
          </p:nvSpPr>
          <p:spPr>
            <a:xfrm>
              <a:off x="7593110" y="3231548"/>
              <a:ext cx="959731" cy="383892"/>
            </a:xfrm>
            <a:custGeom>
              <a:avLst/>
              <a:gdLst>
                <a:gd name="connsiteX0" fmla="*/ 0 w 959731"/>
                <a:gd name="connsiteY0" fmla="*/ 0 h 383892"/>
                <a:gd name="connsiteX1" fmla="*/ 767785 w 959731"/>
                <a:gd name="connsiteY1" fmla="*/ 0 h 383892"/>
                <a:gd name="connsiteX2" fmla="*/ 959731 w 959731"/>
                <a:gd name="connsiteY2" fmla="*/ 191946 h 383892"/>
                <a:gd name="connsiteX3" fmla="*/ 767785 w 959731"/>
                <a:gd name="connsiteY3" fmla="*/ 383892 h 383892"/>
                <a:gd name="connsiteX4" fmla="*/ 0 w 959731"/>
                <a:gd name="connsiteY4" fmla="*/ 383892 h 383892"/>
                <a:gd name="connsiteX5" fmla="*/ 191946 w 959731"/>
                <a:gd name="connsiteY5" fmla="*/ 191946 h 383892"/>
                <a:gd name="connsiteX6" fmla="*/ 0 w 959731"/>
                <a:gd name="connsiteY6" fmla="*/ 0 h 38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9731" h="383892">
                  <a:moveTo>
                    <a:pt x="0" y="0"/>
                  </a:moveTo>
                  <a:lnTo>
                    <a:pt x="767785" y="0"/>
                  </a:lnTo>
                  <a:lnTo>
                    <a:pt x="959731" y="191946"/>
                  </a:lnTo>
                  <a:lnTo>
                    <a:pt x="767785" y="383892"/>
                  </a:lnTo>
                  <a:lnTo>
                    <a:pt x="0" y="383892"/>
                  </a:lnTo>
                  <a:lnTo>
                    <a:pt x="191946" y="1919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32E1"/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6146" tIns="17780" rIns="200586" bIns="17780" numCol="1" spcCol="1270" anchor="ctr" anchorCtr="0">
              <a:noAutofit/>
            </a:bodyPr>
            <a:lstStyle/>
            <a:p>
              <a:pPr algn="ctr" defTabSz="5926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需求设计</a:t>
              </a:r>
              <a:endParaRPr lang="zh-CN" altLang="en-US" sz="1524" dirty="0"/>
            </a:p>
          </p:txBody>
        </p:sp>
        <p:sp>
          <p:nvSpPr>
            <p:cNvPr id="25" name="任意多边形 30">
              <a:extLst>
                <a:ext uri="{FF2B5EF4-FFF2-40B4-BE49-F238E27FC236}">
                  <a16:creationId xmlns:a16="http://schemas.microsoft.com/office/drawing/2014/main" id="{6B9DE2F9-6AA6-8847-98E4-8E6B992D9036}"/>
                </a:ext>
              </a:extLst>
            </p:cNvPr>
            <p:cNvSpPr/>
            <p:nvPr/>
          </p:nvSpPr>
          <p:spPr>
            <a:xfrm>
              <a:off x="8456869" y="3231548"/>
              <a:ext cx="959731" cy="383892"/>
            </a:xfrm>
            <a:custGeom>
              <a:avLst/>
              <a:gdLst>
                <a:gd name="connsiteX0" fmla="*/ 0 w 959731"/>
                <a:gd name="connsiteY0" fmla="*/ 0 h 383892"/>
                <a:gd name="connsiteX1" fmla="*/ 767785 w 959731"/>
                <a:gd name="connsiteY1" fmla="*/ 0 h 383892"/>
                <a:gd name="connsiteX2" fmla="*/ 959731 w 959731"/>
                <a:gd name="connsiteY2" fmla="*/ 191946 h 383892"/>
                <a:gd name="connsiteX3" fmla="*/ 767785 w 959731"/>
                <a:gd name="connsiteY3" fmla="*/ 383892 h 383892"/>
                <a:gd name="connsiteX4" fmla="*/ 0 w 959731"/>
                <a:gd name="connsiteY4" fmla="*/ 383892 h 383892"/>
                <a:gd name="connsiteX5" fmla="*/ 191946 w 959731"/>
                <a:gd name="connsiteY5" fmla="*/ 191946 h 383892"/>
                <a:gd name="connsiteX6" fmla="*/ 0 w 959731"/>
                <a:gd name="connsiteY6" fmla="*/ 0 h 38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9731" h="383892">
                  <a:moveTo>
                    <a:pt x="0" y="0"/>
                  </a:moveTo>
                  <a:lnTo>
                    <a:pt x="767785" y="0"/>
                  </a:lnTo>
                  <a:lnTo>
                    <a:pt x="959731" y="191946"/>
                  </a:lnTo>
                  <a:lnTo>
                    <a:pt x="767785" y="383892"/>
                  </a:lnTo>
                  <a:lnTo>
                    <a:pt x="0" y="383892"/>
                  </a:lnTo>
                  <a:lnTo>
                    <a:pt x="191946" y="1919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32E1"/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6146" tIns="17780" rIns="200586" bIns="17780" numCol="1" spcCol="1270" anchor="ctr" anchorCtr="0">
              <a:noAutofit/>
            </a:bodyPr>
            <a:lstStyle/>
            <a:p>
              <a:pPr algn="ctr" defTabSz="5926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交互</a:t>
              </a:r>
              <a:r>
                <a:rPr lang="en-US" altLang="zh-CN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视觉</a:t>
              </a:r>
            </a:p>
          </p:txBody>
        </p:sp>
        <p:sp>
          <p:nvSpPr>
            <p:cNvPr id="26" name="任意多边形 31">
              <a:extLst>
                <a:ext uri="{FF2B5EF4-FFF2-40B4-BE49-F238E27FC236}">
                  <a16:creationId xmlns:a16="http://schemas.microsoft.com/office/drawing/2014/main" id="{A62E25A9-1120-8845-9BCA-E499C734C854}"/>
                </a:ext>
              </a:extLst>
            </p:cNvPr>
            <p:cNvSpPr/>
            <p:nvPr/>
          </p:nvSpPr>
          <p:spPr>
            <a:xfrm>
              <a:off x="9320627" y="3231548"/>
              <a:ext cx="959731" cy="383892"/>
            </a:xfrm>
            <a:custGeom>
              <a:avLst/>
              <a:gdLst>
                <a:gd name="connsiteX0" fmla="*/ 0 w 959731"/>
                <a:gd name="connsiteY0" fmla="*/ 0 h 383892"/>
                <a:gd name="connsiteX1" fmla="*/ 767785 w 959731"/>
                <a:gd name="connsiteY1" fmla="*/ 0 h 383892"/>
                <a:gd name="connsiteX2" fmla="*/ 959731 w 959731"/>
                <a:gd name="connsiteY2" fmla="*/ 191946 h 383892"/>
                <a:gd name="connsiteX3" fmla="*/ 767785 w 959731"/>
                <a:gd name="connsiteY3" fmla="*/ 383892 h 383892"/>
                <a:gd name="connsiteX4" fmla="*/ 0 w 959731"/>
                <a:gd name="connsiteY4" fmla="*/ 383892 h 383892"/>
                <a:gd name="connsiteX5" fmla="*/ 191946 w 959731"/>
                <a:gd name="connsiteY5" fmla="*/ 191946 h 383892"/>
                <a:gd name="connsiteX6" fmla="*/ 0 w 959731"/>
                <a:gd name="connsiteY6" fmla="*/ 0 h 38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9731" h="383892">
                  <a:moveTo>
                    <a:pt x="0" y="0"/>
                  </a:moveTo>
                  <a:lnTo>
                    <a:pt x="767785" y="0"/>
                  </a:lnTo>
                  <a:lnTo>
                    <a:pt x="959731" y="191946"/>
                  </a:lnTo>
                  <a:lnTo>
                    <a:pt x="767785" y="383892"/>
                  </a:lnTo>
                  <a:lnTo>
                    <a:pt x="0" y="383892"/>
                  </a:lnTo>
                  <a:lnTo>
                    <a:pt x="191946" y="1919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32E1"/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6146" tIns="17780" rIns="200586" bIns="17780" numCol="1" spcCol="1270" anchor="ctr" anchorCtr="0">
              <a:noAutofit/>
            </a:bodyPr>
            <a:lstStyle/>
            <a:p>
              <a:pPr algn="ctr" defTabSz="5926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</a:t>
              </a:r>
            </a:p>
          </p:txBody>
        </p:sp>
        <p:sp>
          <p:nvSpPr>
            <p:cNvPr id="27" name="任意多边形 32">
              <a:extLst>
                <a:ext uri="{FF2B5EF4-FFF2-40B4-BE49-F238E27FC236}">
                  <a16:creationId xmlns:a16="http://schemas.microsoft.com/office/drawing/2014/main" id="{DF9A40E8-5A64-634E-8666-8B53903BF73F}"/>
                </a:ext>
              </a:extLst>
            </p:cNvPr>
            <p:cNvSpPr/>
            <p:nvPr/>
          </p:nvSpPr>
          <p:spPr>
            <a:xfrm>
              <a:off x="10184386" y="3231548"/>
              <a:ext cx="959731" cy="383892"/>
            </a:xfrm>
            <a:custGeom>
              <a:avLst/>
              <a:gdLst>
                <a:gd name="connsiteX0" fmla="*/ 0 w 959731"/>
                <a:gd name="connsiteY0" fmla="*/ 0 h 383892"/>
                <a:gd name="connsiteX1" fmla="*/ 767785 w 959731"/>
                <a:gd name="connsiteY1" fmla="*/ 0 h 383892"/>
                <a:gd name="connsiteX2" fmla="*/ 959731 w 959731"/>
                <a:gd name="connsiteY2" fmla="*/ 191946 h 383892"/>
                <a:gd name="connsiteX3" fmla="*/ 767785 w 959731"/>
                <a:gd name="connsiteY3" fmla="*/ 383892 h 383892"/>
                <a:gd name="connsiteX4" fmla="*/ 0 w 959731"/>
                <a:gd name="connsiteY4" fmla="*/ 383892 h 383892"/>
                <a:gd name="connsiteX5" fmla="*/ 191946 w 959731"/>
                <a:gd name="connsiteY5" fmla="*/ 191946 h 383892"/>
                <a:gd name="connsiteX6" fmla="*/ 0 w 959731"/>
                <a:gd name="connsiteY6" fmla="*/ 0 h 38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9731" h="383892">
                  <a:moveTo>
                    <a:pt x="0" y="0"/>
                  </a:moveTo>
                  <a:lnTo>
                    <a:pt x="767785" y="0"/>
                  </a:lnTo>
                  <a:lnTo>
                    <a:pt x="959731" y="191946"/>
                  </a:lnTo>
                  <a:lnTo>
                    <a:pt x="767785" y="383892"/>
                  </a:lnTo>
                  <a:lnTo>
                    <a:pt x="0" y="383892"/>
                  </a:lnTo>
                  <a:lnTo>
                    <a:pt x="191946" y="1919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32E1"/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6146" tIns="17780" rIns="200586" bIns="17780" numCol="1" spcCol="1270" anchor="ctr" anchorCtr="0">
              <a:noAutofit/>
            </a:bodyPr>
            <a:lstStyle/>
            <a:p>
              <a:pPr algn="ctr" defTabSz="5926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测试</a:t>
              </a:r>
            </a:p>
          </p:txBody>
        </p:sp>
        <p:sp>
          <p:nvSpPr>
            <p:cNvPr id="28" name="任意多边形 33">
              <a:extLst>
                <a:ext uri="{FF2B5EF4-FFF2-40B4-BE49-F238E27FC236}">
                  <a16:creationId xmlns:a16="http://schemas.microsoft.com/office/drawing/2014/main" id="{F3BD3D12-E115-8E4E-B3FE-A32BAC44F845}"/>
                </a:ext>
              </a:extLst>
            </p:cNvPr>
            <p:cNvSpPr/>
            <p:nvPr/>
          </p:nvSpPr>
          <p:spPr>
            <a:xfrm>
              <a:off x="11010541" y="3231548"/>
              <a:ext cx="959731" cy="383892"/>
            </a:xfrm>
            <a:custGeom>
              <a:avLst/>
              <a:gdLst>
                <a:gd name="connsiteX0" fmla="*/ 0 w 959731"/>
                <a:gd name="connsiteY0" fmla="*/ 0 h 383892"/>
                <a:gd name="connsiteX1" fmla="*/ 767785 w 959731"/>
                <a:gd name="connsiteY1" fmla="*/ 0 h 383892"/>
                <a:gd name="connsiteX2" fmla="*/ 959731 w 959731"/>
                <a:gd name="connsiteY2" fmla="*/ 191946 h 383892"/>
                <a:gd name="connsiteX3" fmla="*/ 767785 w 959731"/>
                <a:gd name="connsiteY3" fmla="*/ 383892 h 383892"/>
                <a:gd name="connsiteX4" fmla="*/ 0 w 959731"/>
                <a:gd name="connsiteY4" fmla="*/ 383892 h 383892"/>
                <a:gd name="connsiteX5" fmla="*/ 191946 w 959731"/>
                <a:gd name="connsiteY5" fmla="*/ 191946 h 383892"/>
                <a:gd name="connsiteX6" fmla="*/ 0 w 959731"/>
                <a:gd name="connsiteY6" fmla="*/ 0 h 38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9731" h="383892">
                  <a:moveTo>
                    <a:pt x="0" y="0"/>
                  </a:moveTo>
                  <a:lnTo>
                    <a:pt x="767785" y="0"/>
                  </a:lnTo>
                  <a:lnTo>
                    <a:pt x="959731" y="191946"/>
                  </a:lnTo>
                  <a:lnTo>
                    <a:pt x="767785" y="383892"/>
                  </a:lnTo>
                  <a:lnTo>
                    <a:pt x="0" y="383892"/>
                  </a:lnTo>
                  <a:lnTo>
                    <a:pt x="191946" y="1919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32E1"/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6146" tIns="17780" rIns="200586" bIns="17780" numCol="1" spcCol="1270" anchor="ctr" anchorCtr="0">
              <a:noAutofit/>
            </a:bodyPr>
            <a:lstStyle/>
            <a:p>
              <a:pPr algn="ctr" defTabSz="5926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上线</a:t>
              </a:r>
            </a:p>
          </p:txBody>
        </p:sp>
      </p:grpSp>
      <p:sp>
        <p:nvSpPr>
          <p:cNvPr id="29" name="文本框 28">
            <a:extLst>
              <a:ext uri="{FF2B5EF4-FFF2-40B4-BE49-F238E27FC236}">
                <a16:creationId xmlns:a16="http://schemas.microsoft.com/office/drawing/2014/main" id="{7D3A819A-223D-664B-849A-6DEFE2389DA9}"/>
              </a:ext>
            </a:extLst>
          </p:cNvPr>
          <p:cNvSpPr txBox="1"/>
          <p:nvPr/>
        </p:nvSpPr>
        <p:spPr>
          <a:xfrm>
            <a:off x="4792999" y="1149571"/>
            <a:ext cx="1758999" cy="795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24" dirty="0">
                <a:latin typeface="微软雅黑" panose="020B0503020204020204" pitchFamily="34" charset="-122"/>
                <a:ea typeface="微软雅黑" panose="020B0503020204020204" pitchFamily="34" charset="-122"/>
              </a:rPr>
              <a:t>④标准化、固化单个</a:t>
            </a:r>
            <a:r>
              <a:rPr lang="en-US" altLang="zh-CN" sz="1524" dirty="0">
                <a:latin typeface="微软雅黑" panose="020B0503020204020204" pitchFamily="34" charset="-122"/>
                <a:ea typeface="微软雅黑" panose="020B0503020204020204" pitchFamily="34" charset="-122"/>
              </a:rPr>
              <a:t>Feature/Story</a:t>
            </a:r>
            <a:r>
              <a:rPr lang="zh-CN" altLang="en-US" sz="1524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DAF346D-9CC1-2140-872F-BB432E45515B}"/>
              </a:ext>
            </a:extLst>
          </p:cNvPr>
          <p:cNvSpPr txBox="1"/>
          <p:nvPr/>
        </p:nvSpPr>
        <p:spPr>
          <a:xfrm>
            <a:off x="7008238" y="1871690"/>
            <a:ext cx="1172645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就绪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7A394CA0-4225-EA4C-BFBF-3E6F8E555066}"/>
              </a:ext>
            </a:extLst>
          </p:cNvPr>
          <p:cNvSpPr txBox="1"/>
          <p:nvPr/>
        </p:nvSpPr>
        <p:spPr>
          <a:xfrm>
            <a:off x="8051956" y="1871690"/>
            <a:ext cx="1331202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研发就绪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AF43B15-23CF-B349-9DD8-BBFB71CC38DB}"/>
              </a:ext>
            </a:extLst>
          </p:cNvPr>
          <p:cNvSpPr txBox="1"/>
          <p:nvPr/>
        </p:nvSpPr>
        <p:spPr>
          <a:xfrm>
            <a:off x="9095674" y="1871690"/>
            <a:ext cx="1331202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测试就绪</a:t>
            </a:r>
          </a:p>
        </p:txBody>
      </p:sp>
      <p:sp>
        <p:nvSpPr>
          <p:cNvPr id="33" name="等腰三角形 38">
            <a:extLst>
              <a:ext uri="{FF2B5EF4-FFF2-40B4-BE49-F238E27FC236}">
                <a16:creationId xmlns:a16="http://schemas.microsoft.com/office/drawing/2014/main" id="{C1680FBD-4E3F-C141-96D1-6CF5722DC1B1}"/>
              </a:ext>
            </a:extLst>
          </p:cNvPr>
          <p:cNvSpPr/>
          <p:nvPr/>
        </p:nvSpPr>
        <p:spPr>
          <a:xfrm>
            <a:off x="7357344" y="1710332"/>
            <a:ext cx="179487" cy="19017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14"/>
          </a:p>
        </p:txBody>
      </p:sp>
      <p:sp>
        <p:nvSpPr>
          <p:cNvPr id="34" name="等腰三角形 39">
            <a:extLst>
              <a:ext uri="{FF2B5EF4-FFF2-40B4-BE49-F238E27FC236}">
                <a16:creationId xmlns:a16="http://schemas.microsoft.com/office/drawing/2014/main" id="{C2D1DBCA-AAA1-8E41-BABC-EB28EFD9A3CD}"/>
              </a:ext>
            </a:extLst>
          </p:cNvPr>
          <p:cNvSpPr/>
          <p:nvPr/>
        </p:nvSpPr>
        <p:spPr>
          <a:xfrm>
            <a:off x="8390361" y="1710332"/>
            <a:ext cx="179487" cy="19017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14"/>
          </a:p>
        </p:txBody>
      </p:sp>
      <p:sp>
        <p:nvSpPr>
          <p:cNvPr id="35" name="等腰三角形 40">
            <a:extLst>
              <a:ext uri="{FF2B5EF4-FFF2-40B4-BE49-F238E27FC236}">
                <a16:creationId xmlns:a16="http://schemas.microsoft.com/office/drawing/2014/main" id="{A301ED57-B094-9846-94B3-1DD4E75237A9}"/>
              </a:ext>
            </a:extLst>
          </p:cNvPr>
          <p:cNvSpPr/>
          <p:nvPr/>
        </p:nvSpPr>
        <p:spPr>
          <a:xfrm>
            <a:off x="9419682" y="1710332"/>
            <a:ext cx="179487" cy="19017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14"/>
          </a:p>
        </p:txBody>
      </p:sp>
      <p:cxnSp>
        <p:nvCxnSpPr>
          <p:cNvPr id="36" name="直接连接符 41">
            <a:extLst>
              <a:ext uri="{FF2B5EF4-FFF2-40B4-BE49-F238E27FC236}">
                <a16:creationId xmlns:a16="http://schemas.microsoft.com/office/drawing/2014/main" id="{DD077F8E-6EB4-FE42-ABEF-9CD27065FE64}"/>
              </a:ext>
            </a:extLst>
          </p:cNvPr>
          <p:cNvCxnSpPr/>
          <p:nvPr/>
        </p:nvCxnSpPr>
        <p:spPr>
          <a:xfrm>
            <a:off x="2572079" y="1104611"/>
            <a:ext cx="0" cy="5479931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42">
            <a:extLst>
              <a:ext uri="{FF2B5EF4-FFF2-40B4-BE49-F238E27FC236}">
                <a16:creationId xmlns:a16="http://schemas.microsoft.com/office/drawing/2014/main" id="{DD4C8F33-BA82-3D41-BB97-5256699F0066}"/>
              </a:ext>
            </a:extLst>
          </p:cNvPr>
          <p:cNvCxnSpPr/>
          <p:nvPr/>
        </p:nvCxnSpPr>
        <p:spPr>
          <a:xfrm flipH="1">
            <a:off x="4724727" y="1097313"/>
            <a:ext cx="15726" cy="548723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43">
            <a:extLst>
              <a:ext uri="{FF2B5EF4-FFF2-40B4-BE49-F238E27FC236}">
                <a16:creationId xmlns:a16="http://schemas.microsoft.com/office/drawing/2014/main" id="{D2CDC217-7FA9-5841-B5E5-1178B3BAA32B}"/>
              </a:ext>
            </a:extLst>
          </p:cNvPr>
          <p:cNvCxnSpPr/>
          <p:nvPr/>
        </p:nvCxnSpPr>
        <p:spPr>
          <a:xfrm flipV="1">
            <a:off x="2572079" y="3908148"/>
            <a:ext cx="888627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id="{B2E2CB6C-F886-4247-9ADC-2D83C9406E28}"/>
              </a:ext>
            </a:extLst>
          </p:cNvPr>
          <p:cNvSpPr txBox="1"/>
          <p:nvPr/>
        </p:nvSpPr>
        <p:spPr>
          <a:xfrm>
            <a:off x="10154254" y="1864646"/>
            <a:ext cx="1331202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线就绪</a:t>
            </a:r>
          </a:p>
        </p:txBody>
      </p:sp>
      <p:sp>
        <p:nvSpPr>
          <p:cNvPr id="40" name="等腰三角形 46">
            <a:extLst>
              <a:ext uri="{FF2B5EF4-FFF2-40B4-BE49-F238E27FC236}">
                <a16:creationId xmlns:a16="http://schemas.microsoft.com/office/drawing/2014/main" id="{11419A5F-6C75-0944-9602-8D1B43382547}"/>
              </a:ext>
            </a:extLst>
          </p:cNvPr>
          <p:cNvSpPr/>
          <p:nvPr/>
        </p:nvSpPr>
        <p:spPr>
          <a:xfrm>
            <a:off x="10478262" y="1703287"/>
            <a:ext cx="179487" cy="19017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14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5FC810DD-ED57-0A40-A1AD-77C19A7961B5}"/>
              </a:ext>
            </a:extLst>
          </p:cNvPr>
          <p:cNvSpPr/>
          <p:nvPr/>
        </p:nvSpPr>
        <p:spPr>
          <a:xfrm>
            <a:off x="5529510" y="2224609"/>
            <a:ext cx="1523929" cy="974150"/>
          </a:xfrm>
          <a:prstGeom prst="rect">
            <a:avLst/>
          </a:prstGeom>
          <a:noFill/>
          <a:ln w="12700">
            <a:solidFill>
              <a:srgbClr val="B1A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3289" indent="-163289">
              <a:buFont typeface="Arial" panose="020B0604020202020204" pitchFamily="34" charset="0"/>
              <a:buChar char="•"/>
            </a:pP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评审通过（产品可行、技术可行、依赖方支持）</a:t>
            </a:r>
            <a:endParaRPr lang="en-US" altLang="zh-CN" sz="1143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63289" indent="-163289">
              <a:buFont typeface="Arial" panose="020B0604020202020204" pitchFamily="34" charset="0"/>
              <a:buChar char="•"/>
            </a:pP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级排序完成</a:t>
            </a:r>
            <a:endParaRPr lang="en-US" altLang="zh-CN" sz="1143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63289" indent="-163289">
              <a:buFont typeface="Arial" panose="020B0604020202020204" pitchFamily="34" charset="0"/>
              <a:buChar char="•"/>
            </a:pP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拆分完成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CDEBC9DB-2605-134D-B253-BC480ACBF20B}"/>
              </a:ext>
            </a:extLst>
          </p:cNvPr>
          <p:cNvSpPr/>
          <p:nvPr/>
        </p:nvSpPr>
        <p:spPr>
          <a:xfrm>
            <a:off x="7195374" y="2224609"/>
            <a:ext cx="1573598" cy="974150"/>
          </a:xfrm>
          <a:prstGeom prst="rect">
            <a:avLst/>
          </a:prstGeom>
          <a:noFill/>
          <a:ln w="12700">
            <a:solidFill>
              <a:srgbClr val="B1A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3289" indent="-163289">
              <a:buFont typeface="Arial" panose="020B0604020202020204" pitchFamily="34" charset="0"/>
              <a:buChar char="•"/>
            </a:pP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r>
              <a:rPr lang="en-US" altLang="zh-CN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\</a:t>
            </a: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互</a:t>
            </a:r>
            <a:r>
              <a:rPr lang="en-US" altLang="zh-CN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\</a:t>
            </a: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视觉</a:t>
            </a:r>
            <a:r>
              <a:rPr lang="en-US" altLang="zh-CN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ady</a:t>
            </a:r>
            <a:endParaRPr lang="zh-CN" altLang="en-US" sz="1143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63289" indent="-163289">
              <a:buFont typeface="Arial" panose="020B0604020202020204" pitchFamily="34" charset="0"/>
              <a:buChar char="•"/>
            </a:pP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验收</a:t>
            </a:r>
            <a:r>
              <a:rPr lang="en-US" altLang="zh-CN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se</a:t>
            </a: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A95A202B-D994-A64A-96AE-29449917D253}"/>
              </a:ext>
            </a:extLst>
          </p:cNvPr>
          <p:cNvSpPr/>
          <p:nvPr/>
        </p:nvSpPr>
        <p:spPr>
          <a:xfrm>
            <a:off x="8910909" y="2224609"/>
            <a:ext cx="1573598" cy="974150"/>
          </a:xfrm>
          <a:prstGeom prst="rect">
            <a:avLst/>
          </a:prstGeom>
          <a:noFill/>
          <a:ln w="12700">
            <a:solidFill>
              <a:srgbClr val="B1A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3289" indent="-163289">
              <a:buFont typeface="Arial" panose="020B0604020202020204" pitchFamily="34" charset="0"/>
              <a:buChar char="•"/>
            </a:pP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、自测完成</a:t>
            </a:r>
          </a:p>
          <a:p>
            <a:pPr marL="163289" indent="-163289">
              <a:buFont typeface="Arial" panose="020B0604020202020204" pitchFamily="34" charset="0"/>
              <a:buChar char="•"/>
            </a:pPr>
            <a:r>
              <a:rPr lang="en-US" altLang="zh-CN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M/UE </a:t>
            </a: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验收通过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3FADD4E-47DA-B841-8F26-977BA317A4EE}"/>
              </a:ext>
            </a:extLst>
          </p:cNvPr>
          <p:cNvSpPr/>
          <p:nvPr/>
        </p:nvSpPr>
        <p:spPr>
          <a:xfrm>
            <a:off x="10626444" y="2224609"/>
            <a:ext cx="1143759" cy="974150"/>
          </a:xfrm>
          <a:prstGeom prst="rect">
            <a:avLst/>
          </a:prstGeom>
          <a:noFill/>
          <a:ln w="12700">
            <a:solidFill>
              <a:srgbClr val="B1A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3289" indent="-163289">
              <a:buFont typeface="Arial" panose="020B0604020202020204" pitchFamily="34" charset="0"/>
              <a:buChar char="•"/>
            </a:pPr>
            <a:r>
              <a:rPr lang="zh-CN" altLang="en-US" sz="114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通过</a:t>
            </a:r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id="{F93DAF4F-6DBD-5C46-B2C1-DA808F3AE4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518" y="3697932"/>
            <a:ext cx="1881486" cy="1034070"/>
          </a:xfrm>
          <a:prstGeom prst="rect">
            <a:avLst/>
          </a:prstGeom>
        </p:spPr>
      </p:pic>
      <p:sp>
        <p:nvSpPr>
          <p:cNvPr id="46" name="文本框 45">
            <a:extLst>
              <a:ext uri="{FF2B5EF4-FFF2-40B4-BE49-F238E27FC236}">
                <a16:creationId xmlns:a16="http://schemas.microsoft.com/office/drawing/2014/main" id="{CCA42244-796A-BB43-B3B0-06D04DFADCF8}"/>
              </a:ext>
            </a:extLst>
          </p:cNvPr>
          <p:cNvSpPr txBox="1"/>
          <p:nvPr/>
        </p:nvSpPr>
        <p:spPr>
          <a:xfrm>
            <a:off x="4861577" y="3977632"/>
            <a:ext cx="2109851" cy="561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524" dirty="0">
                <a:latin typeface="微软雅黑" panose="020B0503020204020204" pitchFamily="34" charset="-122"/>
                <a:ea typeface="微软雅黑" panose="020B0503020204020204" pitchFamily="34" charset="-122"/>
              </a:rPr>
              <a:t>⑤建立节奏，统一心跳</a:t>
            </a:r>
            <a:endParaRPr lang="en-US" altLang="zh-CN" sz="1524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7" name="Picture 2" descr="http://wiki.baidu.com/download/attachments/890609036/image2019-8-19_10-42-59.png?version=1&amp;modificationDate=1566182580000&amp;api=v2">
            <a:extLst>
              <a:ext uri="{FF2B5EF4-FFF2-40B4-BE49-F238E27FC236}">
                <a16:creationId xmlns:a16="http://schemas.microsoft.com/office/drawing/2014/main" id="{EF50A0C1-DDF8-3B4B-8A30-3125D0390A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0670" y="4594844"/>
            <a:ext cx="1937808" cy="1385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8" name="组合 47">
            <a:extLst>
              <a:ext uri="{FF2B5EF4-FFF2-40B4-BE49-F238E27FC236}">
                <a16:creationId xmlns:a16="http://schemas.microsoft.com/office/drawing/2014/main" id="{6DABFFA1-EBCF-3544-9758-08A94A3C9EEF}"/>
              </a:ext>
            </a:extLst>
          </p:cNvPr>
          <p:cNvGrpSpPr/>
          <p:nvPr/>
        </p:nvGrpSpPr>
        <p:grpSpPr>
          <a:xfrm>
            <a:off x="7332880" y="4064558"/>
            <a:ext cx="4237623" cy="2532850"/>
            <a:chOff x="6567542" y="1440210"/>
            <a:chExt cx="5233858" cy="3396350"/>
          </a:xfrm>
        </p:grpSpPr>
        <p:pic>
          <p:nvPicPr>
            <p:cNvPr id="49" name="图片 48">
              <a:extLst>
                <a:ext uri="{FF2B5EF4-FFF2-40B4-BE49-F238E27FC236}">
                  <a16:creationId xmlns:a16="http://schemas.microsoft.com/office/drawing/2014/main" id="{72541909-EE93-5F47-BA50-83FF4541CE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73638" y="1440210"/>
              <a:ext cx="4127762" cy="3396350"/>
            </a:xfrm>
            <a:prstGeom prst="rect">
              <a:avLst/>
            </a:prstGeom>
          </p:spPr>
        </p:pic>
        <p:sp>
          <p:nvSpPr>
            <p:cNvPr id="50" name="文本框 49">
              <a:extLst>
                <a:ext uri="{FF2B5EF4-FFF2-40B4-BE49-F238E27FC236}">
                  <a16:creationId xmlns:a16="http://schemas.microsoft.com/office/drawing/2014/main" id="{BB709FEB-DB1C-8D47-A05A-96DBC5D5B8C8}"/>
                </a:ext>
              </a:extLst>
            </p:cNvPr>
            <p:cNvSpPr txBox="1"/>
            <p:nvPr/>
          </p:nvSpPr>
          <p:spPr>
            <a:xfrm>
              <a:off x="6567542" y="1624367"/>
              <a:ext cx="1561341" cy="752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每日站会</a:t>
              </a:r>
              <a:endParaRPr lang="en-US" altLang="zh-CN" sz="1524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流动</a:t>
              </a: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AB6F8A7D-E20F-2449-B11C-4F25BAC86ACF}"/>
                </a:ext>
              </a:extLst>
            </p:cNvPr>
            <p:cNvSpPr txBox="1"/>
            <p:nvPr/>
          </p:nvSpPr>
          <p:spPr>
            <a:xfrm>
              <a:off x="8924765" y="2793781"/>
              <a:ext cx="1257190" cy="752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建立反馈</a:t>
              </a:r>
              <a:endParaRPr lang="en-US" altLang="zh-CN" sz="1524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524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持续改进</a:t>
              </a:r>
            </a:p>
          </p:txBody>
        </p:sp>
      </p:grpSp>
      <p:sp>
        <p:nvSpPr>
          <p:cNvPr id="52" name="矩形 51">
            <a:extLst>
              <a:ext uri="{FF2B5EF4-FFF2-40B4-BE49-F238E27FC236}">
                <a16:creationId xmlns:a16="http://schemas.microsoft.com/office/drawing/2014/main" id="{5E2F0B7E-E21E-984D-9D2A-863BA8041BCE}"/>
              </a:ext>
            </a:extLst>
          </p:cNvPr>
          <p:cNvSpPr/>
          <p:nvPr/>
        </p:nvSpPr>
        <p:spPr>
          <a:xfrm>
            <a:off x="4792999" y="6103583"/>
            <a:ext cx="3444155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迭代周期建议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或者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；建议不超过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endParaRPr lang="en-US" altLang="zh-CN" sz="1333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50523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B94B030-C86C-B04C-A643-16AB14BD894B}"/>
              </a:ext>
            </a:extLst>
          </p:cNvPr>
          <p:cNvSpPr txBox="1"/>
          <p:nvPr/>
        </p:nvSpPr>
        <p:spPr>
          <a:xfrm>
            <a:off x="283117" y="1199378"/>
            <a:ext cx="4545361" cy="5398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hy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以用户价值为中心交付完整的功能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减少依赖，团队成员共同为业务目标负责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简化的计划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效的沟通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加快产品上市时间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员建议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5~11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，虚拟团队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覆盖端到端实现产品功能全角色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尽量避免一个人在两个团队中同时肩负职责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zh-CN" altLang="en-US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2200361B-6549-A347-82F3-6164620E0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3.1</a:t>
            </a:r>
            <a:r>
              <a:rPr lang="zh-CN" altLang="en-US" dirty="0">
                <a:sym typeface="+mn-ea"/>
              </a:rPr>
              <a:t> 建立 </a:t>
            </a:r>
            <a:r>
              <a:rPr lang="en-US" altLang="zh-CN" dirty="0">
                <a:sym typeface="+mn-ea"/>
              </a:rPr>
              <a:t>Scrum</a:t>
            </a:r>
            <a:r>
              <a:rPr lang="zh-CN" altLang="en-US" dirty="0">
                <a:sym typeface="+mn-ea"/>
              </a:rPr>
              <a:t> </a:t>
            </a:r>
            <a:r>
              <a:rPr lang="en-US" altLang="zh-CN" dirty="0">
                <a:sym typeface="+mn-ea"/>
              </a:rPr>
              <a:t>Team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按产品组建跨角色的特性团队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9E51A8E-23E8-1F4F-8383-50506C5331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239" y="1199378"/>
            <a:ext cx="5854390" cy="509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3434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标题 1">
            <a:extLst>
              <a:ext uri="{FF2B5EF4-FFF2-40B4-BE49-F238E27FC236}">
                <a16:creationId xmlns:a16="http://schemas.microsoft.com/office/drawing/2014/main" id="{6E4028FC-5084-6344-A8A6-8F49F6B36FCC}"/>
              </a:ext>
            </a:extLst>
          </p:cNvPr>
          <p:cNvSpPr txBox="1">
            <a:spLocks/>
          </p:cNvSpPr>
          <p:nvPr/>
        </p:nvSpPr>
        <p:spPr>
          <a:xfrm>
            <a:off x="0" y="72736"/>
            <a:ext cx="11923973" cy="824770"/>
          </a:xfrm>
          <a:prstGeom prst="rect">
            <a:avLst/>
          </a:prstGeom>
        </p:spPr>
        <p:txBody>
          <a:bodyPr vert="horz" lIns="91352" tIns="45677" rIns="91352" bIns="45677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kumimoji="1" lang="en-US" altLang="zh-CN" dirty="0"/>
              <a:t>3.2</a:t>
            </a:r>
            <a:r>
              <a:rPr kumimoji="1" lang="zh-CN" altLang="en-US" dirty="0"/>
              <a:t> 产品</a:t>
            </a:r>
            <a:r>
              <a:rPr kumimoji="1" lang="en-US" altLang="zh-CN" dirty="0"/>
              <a:t>Backlog</a:t>
            </a:r>
            <a:r>
              <a:rPr kumimoji="1" lang="zh-CN" altLang="en-US" dirty="0"/>
              <a:t>准备</a:t>
            </a:r>
            <a:r>
              <a:rPr kumimoji="1" lang="en-US" altLang="zh-CN" sz="1800" dirty="0">
                <a:solidFill>
                  <a:schemeClr val="accent1"/>
                </a:solidFill>
              </a:rPr>
              <a:t>|</a:t>
            </a:r>
            <a:r>
              <a:rPr kumimoji="1" lang="zh-CN" altLang="en-US" sz="1800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accent1"/>
                </a:solidFill>
              </a:rPr>
              <a:t>梳理需求来源和分类，统一需求入口和出口，把关需求质量</a:t>
            </a:r>
            <a:endParaRPr kumimoji="1" lang="zh-CN" altLang="en-US" sz="1800" dirty="0"/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B5B180D2-F1D4-9146-9FD3-CED46588EF82}"/>
              </a:ext>
            </a:extLst>
          </p:cNvPr>
          <p:cNvSpPr/>
          <p:nvPr/>
        </p:nvSpPr>
        <p:spPr>
          <a:xfrm>
            <a:off x="5783313" y="1072713"/>
            <a:ext cx="5248839" cy="5178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微软雅黑"/>
                <a:ea typeface="微软雅黑"/>
                <a:cs typeface="微软雅黑"/>
              </a:rPr>
              <a:t>2.</a:t>
            </a:r>
            <a:r>
              <a:rPr lang="zh-CN" altLang="en-US" b="1" dirty="0">
                <a:solidFill>
                  <a:schemeClr val="accent1"/>
                </a:solidFill>
                <a:latin typeface="微软雅黑"/>
                <a:ea typeface="微软雅黑"/>
                <a:cs typeface="微软雅黑"/>
              </a:rPr>
              <a:t> 建立统一的需求收集机制</a:t>
            </a:r>
            <a:endParaRPr lang="en-US" altLang="zh-CN" b="1" dirty="0">
              <a:solidFill>
                <a:schemeClr val="accent1"/>
              </a:solidFill>
              <a:latin typeface="微软雅黑"/>
              <a:ea typeface="微软雅黑"/>
              <a:cs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明确收集参与者和职责</a:t>
            </a:r>
            <a:endParaRPr lang="en-US" altLang="zh-CN" sz="1400" dirty="0">
              <a:latin typeface="微软雅黑"/>
              <a:ea typeface="微软雅黑"/>
              <a:cs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明确需求收集模板、录入系统</a:t>
            </a:r>
            <a:endParaRPr lang="en-US" altLang="zh-CN" sz="1400" dirty="0">
              <a:latin typeface="微软雅黑"/>
              <a:ea typeface="微软雅黑"/>
              <a:cs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当需求来源多、数量多、复杂度高时，需要建立需求预处理流程</a:t>
            </a:r>
            <a:endParaRPr lang="en-US" altLang="zh-CN" sz="1400" dirty="0">
              <a:latin typeface="微软雅黑"/>
              <a:ea typeface="微软雅黑"/>
              <a:cs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周期性的重复收集</a:t>
            </a:r>
            <a:endParaRPr lang="en-US" altLang="zh-CN" b="1" dirty="0">
              <a:solidFill>
                <a:schemeClr val="accent1"/>
              </a:solidFill>
              <a:latin typeface="微软雅黑"/>
              <a:ea typeface="微软雅黑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微软雅黑"/>
                <a:ea typeface="微软雅黑"/>
              </a:rPr>
              <a:t>3.</a:t>
            </a:r>
            <a:r>
              <a:rPr lang="zh-CN" altLang="en-US" b="1" dirty="0">
                <a:solidFill>
                  <a:schemeClr val="accent1"/>
                </a:solidFill>
                <a:latin typeface="微软雅黑"/>
                <a:ea typeface="微软雅黑"/>
              </a:rPr>
              <a:t> 建立需求评估组织和机制</a:t>
            </a:r>
            <a:endParaRPr lang="en-US" altLang="zh-CN" b="1" dirty="0">
              <a:solidFill>
                <a:schemeClr val="accent1"/>
              </a:solidFill>
              <a:latin typeface="微软雅黑"/>
              <a:ea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明确参与角色及职责，</a:t>
            </a:r>
            <a:r>
              <a:rPr lang="en-US" altLang="zh-CN" sz="1400" dirty="0">
                <a:latin typeface="微软雅黑"/>
                <a:ea typeface="微软雅黑"/>
              </a:rPr>
              <a:t> </a:t>
            </a:r>
            <a:r>
              <a:rPr lang="zh-CN" altLang="en-US" sz="1400" dirty="0">
                <a:latin typeface="微软雅黑"/>
                <a:ea typeface="微软雅黑"/>
              </a:rPr>
              <a:t>通常成立产品委员会和技术委员会</a:t>
            </a:r>
            <a:endParaRPr lang="en-US" altLang="zh-CN" sz="1400" dirty="0">
              <a:latin typeface="微软雅黑"/>
              <a:ea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建立</a:t>
            </a:r>
            <a:r>
              <a:rPr lang="en-US" altLang="zh-CN" sz="1400" dirty="0">
                <a:latin typeface="微软雅黑"/>
                <a:ea typeface="微软雅黑"/>
              </a:rPr>
              <a:t>Launch</a:t>
            </a:r>
            <a:r>
              <a:rPr lang="zh-CN" altLang="en-US" sz="1400" dirty="0">
                <a:latin typeface="微软雅黑"/>
                <a:ea typeface="微软雅黑"/>
              </a:rPr>
              <a:t> </a:t>
            </a:r>
            <a:r>
              <a:rPr lang="en-US" altLang="zh-CN" sz="1400" dirty="0">
                <a:latin typeface="微软雅黑"/>
                <a:ea typeface="微软雅黑"/>
              </a:rPr>
              <a:t>Review</a:t>
            </a:r>
            <a:r>
              <a:rPr lang="zh-CN" altLang="en-US" sz="1400" dirty="0">
                <a:latin typeface="微软雅黑"/>
                <a:ea typeface="微软雅黑"/>
              </a:rPr>
              <a:t>机制（定期</a:t>
            </a:r>
            <a:r>
              <a:rPr lang="en-US" altLang="zh-CN" sz="1400" dirty="0">
                <a:latin typeface="微软雅黑"/>
                <a:ea typeface="微软雅黑"/>
              </a:rPr>
              <a:t>/by </a:t>
            </a:r>
            <a:r>
              <a:rPr lang="zh-CN" altLang="en-US" sz="1400" dirty="0">
                <a:latin typeface="微软雅黑"/>
                <a:ea typeface="微软雅黑"/>
              </a:rPr>
              <a:t>版本</a:t>
            </a:r>
            <a:r>
              <a:rPr lang="en-US" altLang="zh-CN" sz="1400" dirty="0">
                <a:latin typeface="微软雅黑"/>
                <a:ea typeface="微软雅黑"/>
              </a:rPr>
              <a:t>/by </a:t>
            </a:r>
            <a:r>
              <a:rPr lang="zh-CN" altLang="en-US" sz="1400" dirty="0">
                <a:latin typeface="微软雅黑"/>
                <a:ea typeface="微软雅黑"/>
              </a:rPr>
              <a:t>项目）</a:t>
            </a:r>
            <a:endParaRPr lang="en-US" altLang="zh-CN" sz="1400" dirty="0">
              <a:latin typeface="微软雅黑"/>
              <a:ea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明确评估流程（准入</a:t>
            </a:r>
            <a:r>
              <a:rPr lang="en-US" altLang="zh-CN" sz="1400" dirty="0">
                <a:latin typeface="微软雅黑"/>
                <a:ea typeface="微软雅黑"/>
              </a:rPr>
              <a:t>/</a:t>
            </a:r>
            <a:r>
              <a:rPr lang="zh-CN" altLang="en-US" sz="1400" dirty="0">
                <a:latin typeface="微软雅黑"/>
                <a:ea typeface="微软雅黑"/>
              </a:rPr>
              <a:t>过程活动</a:t>
            </a:r>
            <a:r>
              <a:rPr lang="en-US" altLang="zh-CN" sz="1400" dirty="0">
                <a:latin typeface="微软雅黑"/>
                <a:ea typeface="微软雅黑"/>
              </a:rPr>
              <a:t>/</a:t>
            </a:r>
            <a:r>
              <a:rPr lang="zh-CN" altLang="en-US" sz="1400" dirty="0">
                <a:latin typeface="微软雅黑"/>
                <a:ea typeface="微软雅黑"/>
              </a:rPr>
              <a:t>准出要求）</a:t>
            </a:r>
            <a:endParaRPr lang="en-US" altLang="zh-CN" sz="1400" dirty="0">
              <a:latin typeface="微软雅黑"/>
              <a:ea typeface="微软雅黑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微软雅黑"/>
                <a:ea typeface="微软雅黑"/>
              </a:rPr>
              <a:t>4.</a:t>
            </a:r>
            <a:r>
              <a:rPr lang="zh-CN" altLang="en-US" b="1" dirty="0">
                <a:solidFill>
                  <a:schemeClr val="accent1"/>
                </a:solidFill>
                <a:latin typeface="微软雅黑"/>
                <a:ea typeface="微软雅黑"/>
              </a:rPr>
              <a:t> 建立需求的发布机制</a:t>
            </a:r>
            <a:endParaRPr lang="en-US" altLang="zh-CN" b="1" dirty="0">
              <a:solidFill>
                <a:schemeClr val="accent1"/>
              </a:solidFill>
              <a:latin typeface="微软雅黑"/>
              <a:ea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定期</a:t>
            </a:r>
            <a:r>
              <a:rPr lang="en-US" altLang="zh-CN" sz="1400" dirty="0">
                <a:latin typeface="微软雅黑"/>
                <a:ea typeface="微软雅黑"/>
              </a:rPr>
              <a:t>/by</a:t>
            </a:r>
            <a:r>
              <a:rPr lang="zh-CN" altLang="en-US" sz="1400" dirty="0">
                <a:latin typeface="微软雅黑"/>
                <a:ea typeface="微软雅黑"/>
              </a:rPr>
              <a:t> 版本</a:t>
            </a:r>
            <a:r>
              <a:rPr lang="en-US" altLang="zh-CN" sz="1400" dirty="0">
                <a:latin typeface="微软雅黑"/>
                <a:ea typeface="微软雅黑"/>
              </a:rPr>
              <a:t>/by</a:t>
            </a:r>
            <a:r>
              <a:rPr lang="zh-CN" altLang="en-US" sz="1400" dirty="0">
                <a:latin typeface="微软雅黑"/>
                <a:ea typeface="微软雅黑"/>
              </a:rPr>
              <a:t>项目发布</a:t>
            </a:r>
            <a:endParaRPr lang="en-US" altLang="zh-CN" sz="1400" dirty="0">
              <a:latin typeface="微软雅黑"/>
              <a:ea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全量发布</a:t>
            </a:r>
            <a:r>
              <a:rPr lang="en-US" altLang="zh-CN" sz="1400" dirty="0">
                <a:latin typeface="微软雅黑"/>
                <a:ea typeface="微软雅黑"/>
              </a:rPr>
              <a:t> /</a:t>
            </a:r>
            <a:r>
              <a:rPr lang="zh-CN" altLang="en-US" sz="1400" dirty="0">
                <a:latin typeface="微软雅黑"/>
                <a:ea typeface="微软雅黑"/>
              </a:rPr>
              <a:t>增量发布</a:t>
            </a:r>
            <a:endParaRPr lang="en-US" altLang="zh-CN" sz="1400" dirty="0">
              <a:latin typeface="微软雅黑"/>
              <a:ea typeface="微软雅黑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统一发布，定向澄清</a:t>
            </a:r>
            <a:endParaRPr lang="en-US" altLang="zh-CN" sz="1400" dirty="0">
              <a:latin typeface="微软雅黑"/>
              <a:ea typeface="微软雅黑"/>
            </a:endParaRP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8A2F9B2A-E92C-8647-A462-569048BCF2B6}"/>
              </a:ext>
            </a:extLst>
          </p:cNvPr>
          <p:cNvSpPr/>
          <p:nvPr/>
        </p:nvSpPr>
        <p:spPr>
          <a:xfrm>
            <a:off x="607606" y="1084001"/>
            <a:ext cx="4665145" cy="14392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1" dirty="0">
                <a:solidFill>
                  <a:schemeClr val="accent1"/>
                </a:solidFill>
                <a:latin typeface="微软雅黑"/>
                <a:ea typeface="微软雅黑"/>
                <a:cs typeface="微软雅黑"/>
              </a:rPr>
              <a:t>梳理需求的来源和分类</a:t>
            </a:r>
            <a:endParaRPr lang="en-US" altLang="zh-CN" b="1" dirty="0">
              <a:solidFill>
                <a:schemeClr val="accent1"/>
              </a:solidFill>
              <a:latin typeface="微软雅黑"/>
              <a:ea typeface="微软雅黑"/>
              <a:cs typeface="微软雅黑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</a:rPr>
              <a:t>需求的三个层次：业务需求、用户需求、软件需求，包括功能需求、非功能需求等</a:t>
            </a:r>
            <a:endParaRPr lang="en-US" altLang="zh-CN" sz="1400" dirty="0">
              <a:latin typeface="微软雅黑"/>
              <a:ea typeface="微软雅黑"/>
              <a:cs typeface="微软雅黑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/>
                <a:ea typeface="微软雅黑"/>
                <a:cs typeface="微软雅黑"/>
              </a:rPr>
              <a:t>常见的需求分类法及示例如下： </a:t>
            </a:r>
          </a:p>
        </p:txBody>
      </p:sp>
      <p:graphicFrame>
        <p:nvGraphicFramePr>
          <p:cNvPr id="95" name="表格 94">
            <a:extLst>
              <a:ext uri="{FF2B5EF4-FFF2-40B4-BE49-F238E27FC236}">
                <a16:creationId xmlns:a16="http://schemas.microsoft.com/office/drawing/2014/main" id="{560DFC5C-C59F-FD4C-8105-C71F1214144B}"/>
              </a:ext>
            </a:extLst>
          </p:cNvPr>
          <p:cNvGraphicFramePr>
            <a:graphicFrameLocks noGrp="1"/>
          </p:cNvGraphicFramePr>
          <p:nvPr/>
        </p:nvGraphicFramePr>
        <p:xfrm>
          <a:off x="3032134" y="2666380"/>
          <a:ext cx="2104902" cy="1679656"/>
        </p:xfrm>
        <a:graphic>
          <a:graphicData uri="http://schemas.openxmlformats.org/drawingml/2006/table">
            <a:tbl>
              <a:tblPr/>
              <a:tblGrid>
                <a:gridCol w="8386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62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495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周期分类法示例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49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类型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研发周期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52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A</a:t>
                      </a:r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类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个月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9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B</a:t>
                      </a:r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类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个月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9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C</a:t>
                      </a:r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类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两周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9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</a:t>
                      </a:r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类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一周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96" name="表格 95">
            <a:extLst>
              <a:ext uri="{FF2B5EF4-FFF2-40B4-BE49-F238E27FC236}">
                <a16:creationId xmlns:a16="http://schemas.microsoft.com/office/drawing/2014/main" id="{3A9957B0-C189-B243-B4D0-1500186F23C6}"/>
              </a:ext>
            </a:extLst>
          </p:cNvPr>
          <p:cNvGraphicFramePr>
            <a:graphicFrameLocks noGrp="1"/>
          </p:cNvGraphicFramePr>
          <p:nvPr/>
        </p:nvGraphicFramePr>
        <p:xfrm>
          <a:off x="607606" y="2675324"/>
          <a:ext cx="2104901" cy="1677455"/>
        </p:xfrm>
        <a:graphic>
          <a:graphicData uri="http://schemas.openxmlformats.org/drawingml/2006/table">
            <a:tbl>
              <a:tblPr/>
              <a:tblGrid>
                <a:gridCol w="8386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62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672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优先级分类法示例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72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类型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优先级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2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0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不做会死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9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1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做了会更好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99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2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可以做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99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3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可以不做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97" name="表格 96">
            <a:extLst>
              <a:ext uri="{FF2B5EF4-FFF2-40B4-BE49-F238E27FC236}">
                <a16:creationId xmlns:a16="http://schemas.microsoft.com/office/drawing/2014/main" id="{A888DD6A-8B9B-EC4C-ACFC-33F9F978A779}"/>
              </a:ext>
            </a:extLst>
          </p:cNvPr>
          <p:cNvGraphicFramePr>
            <a:graphicFrameLocks noGrp="1"/>
          </p:cNvGraphicFramePr>
          <p:nvPr/>
        </p:nvGraphicFramePr>
        <p:xfrm>
          <a:off x="607606" y="4532531"/>
          <a:ext cx="4529430" cy="1714938"/>
        </p:xfrm>
        <a:graphic>
          <a:graphicData uri="http://schemas.openxmlformats.org/drawingml/2006/table">
            <a:tbl>
              <a:tblPr/>
              <a:tblGrid>
                <a:gridCol w="12869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24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672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来源分类法示例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72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类型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来源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70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外部需求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政府部门、其他公司、公司其他部门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92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运营需求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地图运营团队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992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垂类需求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地图垂类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992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技术需求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平台技术优化</a:t>
                      </a:r>
                    </a:p>
                  </a:txBody>
                  <a:tcPr marL="11430" marR="11430" marT="114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09644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2</a:t>
            </a:r>
            <a:r>
              <a:rPr kumimoji="1" lang="zh-CN" altLang="en-US" dirty="0"/>
              <a:t> 产品</a:t>
            </a:r>
            <a:r>
              <a:rPr kumimoji="1" lang="en-US" altLang="zh-CN" dirty="0"/>
              <a:t>Backlog</a:t>
            </a:r>
            <a:r>
              <a:rPr kumimoji="1" lang="zh-CN" altLang="en-US" dirty="0"/>
              <a:t>准备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accent1"/>
                </a:solidFill>
              </a:rPr>
              <a:t>需求拆分：聚焦用户价值，迭代增量发布，快速获取反馈</a:t>
            </a:r>
            <a:endParaRPr kumimoji="1" lang="zh-CN" altLang="en-US" sz="2000" dirty="0"/>
          </a:p>
        </p:txBody>
      </p:sp>
      <p:graphicFrame>
        <p:nvGraphicFramePr>
          <p:cNvPr id="3" name="图示 2">
            <a:extLst>
              <a:ext uri="{FF2B5EF4-FFF2-40B4-BE49-F238E27FC236}">
                <a16:creationId xmlns:a16="http://schemas.microsoft.com/office/drawing/2014/main" id="{51447DF3-DE7A-C341-B103-A0CFF08CCFFB}"/>
              </a:ext>
            </a:extLst>
          </p:cNvPr>
          <p:cNvGraphicFramePr/>
          <p:nvPr/>
        </p:nvGraphicFramePr>
        <p:xfrm>
          <a:off x="238516" y="979571"/>
          <a:ext cx="602061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文本框 3">
            <a:extLst>
              <a:ext uri="{FF2B5EF4-FFF2-40B4-BE49-F238E27FC236}">
                <a16:creationId xmlns:a16="http://schemas.microsoft.com/office/drawing/2014/main" id="{6D5905F3-375A-264A-9C8F-C36C4529E7E7}"/>
              </a:ext>
            </a:extLst>
          </p:cNvPr>
          <p:cNvSpPr txBox="1"/>
          <p:nvPr/>
        </p:nvSpPr>
        <p:spPr>
          <a:xfrm>
            <a:off x="6384269" y="1083495"/>
            <a:ext cx="5398760" cy="49017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pic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类型，</a:t>
            </a:r>
            <a:r>
              <a:rPr kumimoji="1" lang="en-US" altLang="zh-Han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M</a:t>
            </a:r>
            <a:r>
              <a:rPr kumimoji="1" lang="zh-Hans" altLang="en-U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根据各产品季度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KR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拆分的史诗级事项，跨季度的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pic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建议拆分，一个季度内可完成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eature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类型，</a:t>
            </a:r>
            <a:r>
              <a:rPr kumimoji="1" lang="en-US" altLang="zh-Han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M</a:t>
            </a:r>
            <a:r>
              <a:rPr kumimoji="1" lang="zh-Hans" altLang="en-U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根据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pic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拆分的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用户可感知的，体现端到端完整价值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业务需求，可独立交付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tory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类型，</a:t>
            </a:r>
            <a:r>
              <a:rPr kumimoji="1" lang="en-US" altLang="zh-Han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M</a:t>
            </a:r>
            <a:r>
              <a:rPr kumimoji="1" lang="zh-Hans" altLang="en-U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根据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eature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拆分的用户故事，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独立测试的系统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模块增量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一个迭代内可完成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类型，</a:t>
            </a:r>
            <a:r>
              <a:rPr kumimoji="1" lang="en-US" altLang="zh-Han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D</a:t>
            </a:r>
            <a:r>
              <a:rPr kumimoji="1" lang="zh-Hans" altLang="en-U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根据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tory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拆分的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多人负责的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tory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要拆分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必须有唯一负责人，提交代码必须绑定叶子节点的卡片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ch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eature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类型，</a:t>
            </a:r>
            <a:r>
              <a:rPr kumimoji="1" lang="en-US" altLang="zh-Han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D</a:t>
            </a:r>
            <a:r>
              <a:rPr kumimoji="1" lang="zh-Hans" altLang="en-U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技术需求，如性能、稳定性、工程能力等方面的需求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ch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类型，</a:t>
            </a:r>
            <a:r>
              <a:rPr kumimoji="1" lang="en-US" altLang="zh-Han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D</a:t>
            </a:r>
            <a:r>
              <a:rPr kumimoji="1" lang="zh-Hans" altLang="en-U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根据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ch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eature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拆分的技术任务，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Tech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必须有唯一负责人，提交代码必须绑定叶子节点的卡片</a:t>
            </a:r>
            <a:endParaRPr kumimoji="1" lang="en-US" altLang="zh-Han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Han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ug</a:t>
            </a:r>
            <a:r>
              <a:rPr kumimoji="1" lang="zh-Hans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Hans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类型，</a:t>
            </a:r>
            <a:r>
              <a:rPr kumimoji="1" lang="en-US" altLang="zh-Han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QA</a:t>
            </a:r>
            <a:r>
              <a:rPr kumimoji="1" lang="zh-Hans" altLang="en-US" sz="1400" dirty="0">
                <a:solidFill>
                  <a:srgbClr val="0432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</a:t>
            </a:r>
            <a:endParaRPr kumimoji="1" lang="en-US" altLang="zh-Hans" sz="1400" dirty="0">
              <a:solidFill>
                <a:srgbClr val="0432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35429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0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2</a:t>
            </a:r>
            <a:r>
              <a:rPr kumimoji="1" lang="zh-CN" altLang="en-US" dirty="0"/>
              <a:t> 产品</a:t>
            </a:r>
            <a:r>
              <a:rPr kumimoji="1" lang="en-US" altLang="zh-CN" dirty="0"/>
              <a:t>Backlog</a:t>
            </a:r>
            <a:r>
              <a:rPr kumimoji="1" lang="zh-CN" altLang="en-US" dirty="0"/>
              <a:t>准备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accent1"/>
                </a:solidFill>
              </a:rPr>
              <a:t>根据需求特点，选择合适的方法进行</a:t>
            </a:r>
            <a:r>
              <a:rPr kumimoji="1" lang="en-US" altLang="zh-CN" sz="2000" dirty="0">
                <a:solidFill>
                  <a:schemeClr val="accent1"/>
                </a:solidFill>
              </a:rPr>
              <a:t>story</a:t>
            </a:r>
            <a:r>
              <a:rPr kumimoji="1" lang="zh-CN" altLang="en-US" sz="2000" dirty="0">
                <a:solidFill>
                  <a:schemeClr val="accent1"/>
                </a:solidFill>
              </a:rPr>
              <a:t>拆分</a:t>
            </a:r>
            <a:endParaRPr kumimoji="1" lang="zh-CN" altLang="en-US" sz="2000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8737153-5472-5649-8C63-A8E783504074}"/>
              </a:ext>
            </a:extLst>
          </p:cNvPr>
          <p:cNvSpPr/>
          <p:nvPr/>
        </p:nvSpPr>
        <p:spPr>
          <a:xfrm>
            <a:off x="242909" y="1028320"/>
            <a:ext cx="4728335" cy="572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一个好的用户故事包括三个要素：</a:t>
            </a:r>
            <a:endParaRPr lang="en-US" altLang="zh-CN" b="1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 角色： 谁要用这个功能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 活动： 需要完成什么样的功能。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 价值：为什么需要这个功能， 这个功能带来了什么样的价值。</a:t>
            </a:r>
            <a:endParaRPr lang="en-US" altLang="zh-CN" b="1" dirty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拆分的</a:t>
            </a:r>
            <a:r>
              <a:rPr lang="en-US" altLang="zh-CN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INVEST</a:t>
            </a:r>
            <a:r>
              <a:rPr lang="zh-CN" altLang="en-US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原则：</a:t>
            </a:r>
            <a:endParaRPr lang="en-US" altLang="zh-CN" b="1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独立性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(Independent)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 可协商性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(Negotiable)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有价值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(Valuable)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 可估算性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(Estimable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适当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(Small)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 可测试性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(Testabl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常见的拆分方法：</a:t>
            </a:r>
            <a:endParaRPr lang="en-US" altLang="zh-CN" b="1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按业务流程拆分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按数据流节点拆分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按接口拆分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按技术指标拆分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76DFD57A-23AF-2E43-8D1C-E682F91112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0185" y="1472229"/>
            <a:ext cx="6744877" cy="538577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FE0879DE-3EDE-704C-88D7-2A40CFED4AF6}"/>
              </a:ext>
            </a:extLst>
          </p:cNvPr>
          <p:cNvSpPr/>
          <p:nvPr/>
        </p:nvSpPr>
        <p:spPr>
          <a:xfrm>
            <a:off x="5190185" y="1013451"/>
            <a:ext cx="2332370" cy="4181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6159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按业务流程拆分案例</a:t>
            </a:r>
            <a:endParaRPr lang="en-US" altLang="zh-CN" sz="1600" b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288243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3.2</a:t>
            </a:r>
            <a:r>
              <a:rPr kumimoji="1" lang="zh-CN" altLang="en-US" dirty="0"/>
              <a:t> 产品</a:t>
            </a:r>
            <a:r>
              <a:rPr kumimoji="1" lang="en-US" altLang="zh-CN" dirty="0"/>
              <a:t>Backlog</a:t>
            </a:r>
            <a:r>
              <a:rPr kumimoji="1" lang="zh-CN" altLang="en-US" dirty="0"/>
              <a:t>准备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accent1"/>
                </a:solidFill>
              </a:rPr>
              <a:t>优先级排序，保持业务灵活性</a:t>
            </a:r>
            <a:endParaRPr kumimoji="1" lang="zh-CN" altLang="en-US" sz="2000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E92CC44-53A0-F44A-9D0E-F7F496113F9B}"/>
              </a:ext>
            </a:extLst>
          </p:cNvPr>
          <p:cNvSpPr/>
          <p:nvPr/>
        </p:nvSpPr>
        <p:spPr>
          <a:xfrm>
            <a:off x="127000" y="959132"/>
            <a:ext cx="5539704" cy="496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1.</a:t>
            </a:r>
            <a:r>
              <a:rPr lang="zh-CN" altLang="en-US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 先估算再排序</a:t>
            </a:r>
            <a:endParaRPr lang="en-US" altLang="zh-CN" b="1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估算单位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故事点、理想人日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要点：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团队估算，要准确而非精确，估算不是承诺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常用方法：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pPr marL="1148060" lvl="3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Fibonacci: 1,2,3,5,8,13</a:t>
            </a:r>
          </a:p>
          <a:p>
            <a:pPr marL="1148060" lvl="3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T-Shirt Sizing: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小， 中， 大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4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2.</a:t>
            </a:r>
            <a:r>
              <a:rPr lang="zh-CN" altLang="en-US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 优先级排序推荐方法</a:t>
            </a:r>
            <a:endParaRPr lang="en-US" altLang="zh-CN" b="1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altLang="zh-CN" sz="1600" b="1" dirty="0" err="1">
                <a:latin typeface="微软雅黑" pitchFamily="34" charset="-122"/>
                <a:ea typeface="微软雅黑" pitchFamily="34" charset="-122"/>
              </a:rPr>
              <a:t>MoSCoW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Must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；  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Should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；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  Could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；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 Would not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价值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&amp;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重要性：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高， 中， 低 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RICE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 模型：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获取分数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排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再评估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1200150" lvl="2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特殊情况优先排序：一个需求是其他需求的前置依赖、该需求针对特殊用户的筹码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5B724969-1DB7-3E44-A07C-A91D0C1110CC}"/>
              </a:ext>
            </a:extLst>
          </p:cNvPr>
          <p:cNvGraphicFramePr>
            <a:graphicFrameLocks noGrp="1"/>
          </p:cNvGraphicFramePr>
          <p:nvPr/>
        </p:nvGraphicFramePr>
        <p:xfrm>
          <a:off x="5884253" y="1641712"/>
          <a:ext cx="6054461" cy="282725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272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8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65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24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13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53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76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64163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Reach</a:t>
                      </a:r>
                      <a:endParaRPr lang="zh-CN" altLang="en-US" sz="1400" b="1" dirty="0">
                        <a:ln>
                          <a:solidFill>
                            <a:schemeClr val="bg1"/>
                          </a:solidFill>
                        </a:ln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Impact</a:t>
                      </a:r>
                      <a:endParaRPr lang="zh-CN" altLang="en-US" sz="1400" b="1" dirty="0">
                        <a:ln>
                          <a:solidFill>
                            <a:schemeClr val="bg1"/>
                          </a:solidFill>
                        </a:ln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Confidence</a:t>
                      </a:r>
                      <a:endParaRPr lang="zh-CN" altLang="en-US" sz="1400" b="1" dirty="0">
                        <a:ln>
                          <a:solidFill>
                            <a:schemeClr val="bg1"/>
                          </a:solidFill>
                        </a:ln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Effort</a:t>
                      </a:r>
                      <a:endParaRPr lang="zh-CN" altLang="en-US" sz="1400" b="1" dirty="0">
                        <a:ln>
                          <a:solidFill>
                            <a:schemeClr val="bg1"/>
                          </a:solidFill>
                        </a:ln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1900">
                <a:tc vMerge="1">
                  <a:txBody>
                    <a:bodyPr/>
                    <a:lstStyle/>
                    <a:p>
                      <a:pPr algn="l"/>
                      <a:endParaRPr lang="zh-CN" altLang="en-US" sz="1400" dirty="0">
                        <a:ln>
                          <a:solidFill>
                            <a:schemeClr val="bg1"/>
                          </a:solidFill>
                        </a:ln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类别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分值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确信度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分值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工作量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>
                          <a:ln>
                            <a:solidFill>
                              <a:schemeClr val="bg1"/>
                            </a:solidFill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分值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331">
                <a:tc rowSpan="5">
                  <a:txBody>
                    <a:bodyPr/>
                    <a:lstStyle/>
                    <a:p>
                      <a:pPr algn="ctr"/>
                      <a:endParaRPr lang="zh-CN" altLang="en-US" sz="1400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巨大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3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High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100%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&lt;</a:t>
                      </a:r>
                      <a:r>
                        <a:rPr lang="en-US" altLang="zh-CN" sz="14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=5 </a:t>
                      </a:r>
                      <a:r>
                        <a:rPr lang="zh-CN" altLang="en-US" sz="14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人天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1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1900"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大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2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Medium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80%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[6,10]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2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4163"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中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1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Low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50%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[11,15]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3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1900"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小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0.5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inimum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25%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[16,20]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4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1900"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微小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0.25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/>
                      <a:br>
                        <a:rPr lang="zh-CN" altLang="en-US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</a:b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…</a:t>
                      </a:r>
                      <a:endParaRPr lang="zh-CN" altLang="en-US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Heiti SC Light" charset="-122"/>
                      </a:endParaRP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Heiti SC Light" charset="-122"/>
                        </a:rPr>
                        <a:t>…</a:t>
                      </a:r>
                    </a:p>
                  </a:txBody>
                  <a:tcPr marL="38163" marR="3816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0941C8DD-C46E-4042-9998-7FC7791438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4253" y="4468969"/>
            <a:ext cx="6054461" cy="227956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B83AD91-18EA-624D-A9E2-00CD6DEF6B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" y="5894883"/>
            <a:ext cx="4897191" cy="919024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F5939B4F-A314-C84A-A349-78FC406461EF}"/>
              </a:ext>
            </a:extLst>
          </p:cNvPr>
          <p:cNvSpPr/>
          <p:nvPr/>
        </p:nvSpPr>
        <p:spPr>
          <a:xfrm>
            <a:off x="5884253" y="1036059"/>
            <a:ext cx="2244204" cy="4181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6159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charset="-122"/>
                <a:ea typeface="微软雅黑" panose="020B0503020204020204" charset="-122"/>
              </a:rPr>
              <a:t>RICE </a:t>
            </a:r>
            <a:r>
              <a:rPr lang="zh-CN" altLang="en-US" sz="1600" b="1" dirty="0">
                <a:latin typeface="微软雅黑" panose="020B0503020204020204" charset="-122"/>
                <a:ea typeface="微软雅黑" panose="020B0503020204020204" charset="-122"/>
              </a:rPr>
              <a:t>模型使用案例</a:t>
            </a:r>
            <a:endParaRPr lang="en-US" altLang="zh-CN" sz="1600" b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6911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rgbClr val="4472C4"/>
                </a:solidFill>
              </a:rPr>
              <a:t>为什么要做迭代？</a:t>
            </a:r>
            <a:endParaRPr kumimoji="1" lang="zh-CN" altLang="en-US" sz="2000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9169BE04-8275-FD4E-9CD5-E1F99BDE3494}"/>
              </a:ext>
            </a:extLst>
          </p:cNvPr>
          <p:cNvSpPr txBox="1">
            <a:spLocks/>
          </p:cNvSpPr>
          <p:nvPr/>
        </p:nvSpPr>
        <p:spPr>
          <a:xfrm>
            <a:off x="738719" y="1057933"/>
            <a:ext cx="10515600" cy="241009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如果需求按照没有迭代，而是</a:t>
            </a:r>
            <a:r>
              <a:rPr lang="en-US" altLang="zh-CN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M</a:t>
            </a:r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随时提出需求，团队随时支持的方式，会存在如下问题：</a:t>
            </a:r>
          </a:p>
          <a:p>
            <a:pPr marL="435437" indent="-435437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研发经理是路由，</a:t>
            </a:r>
            <a:r>
              <a:rPr lang="en-US" altLang="zh-CN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M</a:t>
            </a:r>
            <a:r>
              <a:rPr lang="zh-CN" altLang="en-US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随时提需求随时协调</a:t>
            </a:r>
            <a:r>
              <a:rPr lang="en-US" altLang="zh-CN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D</a:t>
            </a:r>
            <a:r>
              <a:rPr lang="zh-CN" altLang="en-US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力支持，管理成本高</a:t>
            </a:r>
          </a:p>
          <a:p>
            <a:pPr marL="435437" indent="-435437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求按先来后到的原则，一旦有高优需求要支持时，发现人力被占用协调不开暂无法支持，或者不得不中止进行中的项目，造成工作切换的成本浪费。</a:t>
            </a:r>
          </a:p>
          <a:p>
            <a:pPr marL="435437" indent="-435437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发节奏无序，团队各角色无稳定的工作节奏（</a:t>
            </a:r>
            <a:r>
              <a:rPr lang="en-US" altLang="zh-CN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UE</a:t>
            </a:r>
            <a:r>
              <a:rPr lang="zh-CN" altLang="en-US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、</a:t>
            </a:r>
            <a:r>
              <a:rPr lang="en-US" altLang="zh-CN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QA</a:t>
            </a:r>
            <a:r>
              <a:rPr lang="zh-CN" altLang="en-US" sz="1905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等）导致协作效率降低</a:t>
            </a:r>
            <a:b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endPara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8D41C3C7-7327-9141-801B-6A05A29419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242" y="3866073"/>
            <a:ext cx="9754951" cy="246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941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rgbClr val="4472C4"/>
                </a:solidFill>
              </a:rPr>
              <a:t>迭代计划</a:t>
            </a:r>
            <a:r>
              <a:rPr kumimoji="1" lang="en-US" altLang="zh-CN" sz="2000" dirty="0">
                <a:solidFill>
                  <a:srgbClr val="4472C4"/>
                </a:solidFill>
              </a:rPr>
              <a:t>-&gt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开发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&amp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Show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Case-&gt;Retro</a:t>
            </a:r>
            <a:endParaRPr kumimoji="1" lang="zh-CN" alt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6FCF4BF-3975-6A44-9134-C6B1EC4F962F}"/>
              </a:ext>
            </a:extLst>
          </p:cNvPr>
          <p:cNvGrpSpPr/>
          <p:nvPr/>
        </p:nvGrpSpPr>
        <p:grpSpPr>
          <a:xfrm>
            <a:off x="1381251" y="1400270"/>
            <a:ext cx="7165219" cy="4682632"/>
            <a:chOff x="1478461" y="435531"/>
            <a:chExt cx="7312834" cy="4518854"/>
          </a:xfrm>
        </p:grpSpPr>
        <p:grpSp>
          <p:nvGrpSpPr>
            <p:cNvPr id="7" name="组合 16">
              <a:extLst>
                <a:ext uri="{FF2B5EF4-FFF2-40B4-BE49-F238E27FC236}">
                  <a16:creationId xmlns:a16="http://schemas.microsoft.com/office/drawing/2014/main" id="{6CA71593-BAC0-1542-901F-103EFAEC9E1F}"/>
                </a:ext>
              </a:extLst>
            </p:cNvPr>
            <p:cNvGrpSpPr/>
            <p:nvPr/>
          </p:nvGrpSpPr>
          <p:grpSpPr>
            <a:xfrm>
              <a:off x="4389120" y="435531"/>
              <a:ext cx="2809702" cy="1519969"/>
              <a:chOff x="4389120" y="402281"/>
              <a:chExt cx="2809702" cy="1519969"/>
            </a:xfrm>
          </p:grpSpPr>
          <p:grpSp>
            <p:nvGrpSpPr>
              <p:cNvPr id="22" name="组合 10">
                <a:extLst>
                  <a:ext uri="{FF2B5EF4-FFF2-40B4-BE49-F238E27FC236}">
                    <a16:creationId xmlns:a16="http://schemas.microsoft.com/office/drawing/2014/main" id="{804F4276-E808-A642-A69E-B8F3A0B2AFFC}"/>
                  </a:ext>
                </a:extLst>
              </p:cNvPr>
              <p:cNvGrpSpPr/>
              <p:nvPr/>
            </p:nvGrpSpPr>
            <p:grpSpPr>
              <a:xfrm>
                <a:off x="4854858" y="766642"/>
                <a:ext cx="406400" cy="541863"/>
                <a:chOff x="2724469" y="4056214"/>
                <a:chExt cx="171091" cy="267723"/>
              </a:xfrm>
            </p:grpSpPr>
            <p:sp>
              <p:nvSpPr>
                <p:cNvPr id="31" name="AutoShape 20">
                  <a:extLst>
                    <a:ext uri="{FF2B5EF4-FFF2-40B4-BE49-F238E27FC236}">
                      <a16:creationId xmlns:a16="http://schemas.microsoft.com/office/drawing/2014/main" id="{D305DC0D-13F6-FA42-9EB5-1E6B7589C4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4469" y="4139539"/>
                  <a:ext cx="171091" cy="184398"/>
                </a:xfrm>
                <a:prstGeom prst="pentagon">
                  <a:avLst/>
                </a:prstGeom>
                <a:solidFill>
                  <a:schemeClr val="accent1">
                    <a:lumMod val="75000"/>
                  </a:schemeClr>
                </a:solidFill>
                <a:ln w="12700" cap="flat">
                  <a:solidFill>
                    <a:schemeClr val="accent5">
                      <a:lumMod val="75000"/>
                    </a:schemeClr>
                  </a:solidFill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6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32" name="Oval 21">
                  <a:extLst>
                    <a:ext uri="{FF2B5EF4-FFF2-40B4-BE49-F238E27FC236}">
                      <a16:creationId xmlns:a16="http://schemas.microsoft.com/office/drawing/2014/main" id="{36FD3CCD-6FE1-5B45-949F-F05EB1D73F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6972" y="4056214"/>
                  <a:ext cx="151223" cy="120902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6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  <p:grpSp>
            <p:nvGrpSpPr>
              <p:cNvPr id="23" name="组合 4">
                <a:extLst>
                  <a:ext uri="{FF2B5EF4-FFF2-40B4-BE49-F238E27FC236}">
                    <a16:creationId xmlns:a16="http://schemas.microsoft.com/office/drawing/2014/main" id="{8516D8E8-1D33-0A49-A90D-339E570F0FF4}"/>
                  </a:ext>
                </a:extLst>
              </p:cNvPr>
              <p:cNvGrpSpPr/>
              <p:nvPr/>
            </p:nvGrpSpPr>
            <p:grpSpPr>
              <a:xfrm>
                <a:off x="4603145" y="1037576"/>
                <a:ext cx="406400" cy="541867"/>
                <a:chOff x="2724469" y="4056214"/>
                <a:chExt cx="171091" cy="267725"/>
              </a:xfrm>
            </p:grpSpPr>
            <p:sp>
              <p:nvSpPr>
                <p:cNvPr id="29" name="AutoShape 20">
                  <a:extLst>
                    <a:ext uri="{FF2B5EF4-FFF2-40B4-BE49-F238E27FC236}">
                      <a16:creationId xmlns:a16="http://schemas.microsoft.com/office/drawing/2014/main" id="{96A4D012-CBD8-0D4C-9E44-FB880E907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4469" y="4139541"/>
                  <a:ext cx="171091" cy="184398"/>
                </a:xfrm>
                <a:prstGeom prst="pentagon">
                  <a:avLst/>
                </a:prstGeom>
                <a:solidFill>
                  <a:srgbClr val="8B8D31"/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6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30" name="Oval 21">
                  <a:extLst>
                    <a:ext uri="{FF2B5EF4-FFF2-40B4-BE49-F238E27FC236}">
                      <a16:creationId xmlns:a16="http://schemas.microsoft.com/office/drawing/2014/main" id="{C719E7B6-EB7D-9F4C-B421-47646F71DC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6972" y="4056214"/>
                  <a:ext cx="151223" cy="120902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6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  <p:grpSp>
            <p:nvGrpSpPr>
              <p:cNvPr id="24" name="组合 7">
                <a:extLst>
                  <a:ext uri="{FF2B5EF4-FFF2-40B4-BE49-F238E27FC236}">
                    <a16:creationId xmlns:a16="http://schemas.microsoft.com/office/drawing/2014/main" id="{D35343E5-9DDA-9647-86B8-8CB7B0F8A0AF}"/>
                  </a:ext>
                </a:extLst>
              </p:cNvPr>
              <p:cNvGrpSpPr/>
              <p:nvPr/>
            </p:nvGrpSpPr>
            <p:grpSpPr>
              <a:xfrm>
                <a:off x="5021750" y="1037576"/>
                <a:ext cx="406400" cy="541867"/>
                <a:chOff x="2724469" y="4056214"/>
                <a:chExt cx="171091" cy="267725"/>
              </a:xfrm>
            </p:grpSpPr>
            <p:sp>
              <p:nvSpPr>
                <p:cNvPr id="27" name="AutoShape 20">
                  <a:extLst>
                    <a:ext uri="{FF2B5EF4-FFF2-40B4-BE49-F238E27FC236}">
                      <a16:creationId xmlns:a16="http://schemas.microsoft.com/office/drawing/2014/main" id="{2639A6C3-022F-8548-905D-CD241B1625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4469" y="4139541"/>
                  <a:ext cx="171091" cy="184398"/>
                </a:xfrm>
                <a:prstGeom prst="pentagon">
                  <a:avLst/>
                </a:prstGeom>
                <a:solidFill>
                  <a:srgbClr val="FF0000"/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6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28" name="Oval 21">
                  <a:extLst>
                    <a:ext uri="{FF2B5EF4-FFF2-40B4-BE49-F238E27FC236}">
                      <a16:creationId xmlns:a16="http://schemas.microsoft.com/office/drawing/2014/main" id="{5ECCF6C6-99E5-DF45-AD15-B8708D7D12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6972" y="4056214"/>
                  <a:ext cx="151223" cy="120902"/>
                </a:xfrm>
                <a:prstGeom prst="ellipse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6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  <p:sp>
            <p:nvSpPr>
              <p:cNvPr id="25" name="椭圆 24">
                <a:extLst>
                  <a:ext uri="{FF2B5EF4-FFF2-40B4-BE49-F238E27FC236}">
                    <a16:creationId xmlns:a16="http://schemas.microsoft.com/office/drawing/2014/main" id="{02AEB710-F91C-D14B-9031-64ACA83BF6A2}"/>
                  </a:ext>
                </a:extLst>
              </p:cNvPr>
              <p:cNvSpPr/>
              <p:nvPr/>
            </p:nvSpPr>
            <p:spPr>
              <a:xfrm>
                <a:off x="4389120" y="473602"/>
                <a:ext cx="2809702" cy="1448648"/>
              </a:xfrm>
              <a:prstGeom prst="ellipse">
                <a:avLst/>
              </a:prstGeom>
              <a:noFill/>
              <a:ln>
                <a:solidFill>
                  <a:srgbClr val="96B9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6" name="文本框 14">
                <a:extLst>
                  <a:ext uri="{FF2B5EF4-FFF2-40B4-BE49-F238E27FC236}">
                    <a16:creationId xmlns:a16="http://schemas.microsoft.com/office/drawing/2014/main" id="{3A6C7E74-5F7B-ED48-97B8-5A9E8084348F}"/>
                  </a:ext>
                </a:extLst>
              </p:cNvPr>
              <p:cNvSpPr txBox="1"/>
              <p:nvPr/>
            </p:nvSpPr>
            <p:spPr>
              <a:xfrm>
                <a:off x="5438290" y="402281"/>
                <a:ext cx="1624510" cy="1472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6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团队</a:t>
                </a:r>
                <a:endParaRPr lang="en-US" altLang="zh-CN" sz="1600" b="1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6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PO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sz="16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Team member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sz="16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Scrum Master</a:t>
                </a:r>
                <a:endPara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8" name="组合 32">
              <a:extLst>
                <a:ext uri="{FF2B5EF4-FFF2-40B4-BE49-F238E27FC236}">
                  <a16:creationId xmlns:a16="http://schemas.microsoft.com/office/drawing/2014/main" id="{F00B1EB3-3449-D84C-887A-B5E34EDB8E41}"/>
                </a:ext>
              </a:extLst>
            </p:cNvPr>
            <p:cNvGrpSpPr/>
            <p:nvPr/>
          </p:nvGrpSpPr>
          <p:grpSpPr>
            <a:xfrm>
              <a:off x="1478461" y="1995908"/>
              <a:ext cx="2522504" cy="2191509"/>
              <a:chOff x="989378" y="1978430"/>
              <a:chExt cx="2522504" cy="2191509"/>
            </a:xfrm>
          </p:grpSpPr>
          <p:graphicFrame>
            <p:nvGraphicFramePr>
              <p:cNvPr id="20" name="图示 19">
                <a:extLst>
                  <a:ext uri="{FF2B5EF4-FFF2-40B4-BE49-F238E27FC236}">
                    <a16:creationId xmlns:a16="http://schemas.microsoft.com/office/drawing/2014/main" id="{A215C3CC-FE98-CB4A-897C-B546FBEB97EA}"/>
                  </a:ext>
                </a:extLst>
              </p:cNvPr>
              <p:cNvGraphicFramePr/>
              <p:nvPr/>
            </p:nvGraphicFramePr>
            <p:xfrm>
              <a:off x="989378" y="2364547"/>
              <a:ext cx="2522504" cy="1805392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  <p:sp>
            <p:nvSpPr>
              <p:cNvPr id="21" name="文本框 26">
                <a:extLst>
                  <a:ext uri="{FF2B5EF4-FFF2-40B4-BE49-F238E27FC236}">
                    <a16:creationId xmlns:a16="http://schemas.microsoft.com/office/drawing/2014/main" id="{FFCD6AF8-3729-4F40-AC88-687FA95819D3}"/>
                  </a:ext>
                </a:extLst>
              </p:cNvPr>
              <p:cNvSpPr txBox="1"/>
              <p:nvPr/>
            </p:nvSpPr>
            <p:spPr>
              <a:xfrm>
                <a:off x="2011681" y="1978430"/>
                <a:ext cx="607294" cy="3267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输入</a:t>
                </a:r>
              </a:p>
            </p:txBody>
          </p:sp>
        </p:grpSp>
        <p:grpSp>
          <p:nvGrpSpPr>
            <p:cNvPr id="9" name="组合 33">
              <a:extLst>
                <a:ext uri="{FF2B5EF4-FFF2-40B4-BE49-F238E27FC236}">
                  <a16:creationId xmlns:a16="http://schemas.microsoft.com/office/drawing/2014/main" id="{54676B7D-CCCB-DC4C-ACD0-1419E24C7606}"/>
                </a:ext>
              </a:extLst>
            </p:cNvPr>
            <p:cNvGrpSpPr/>
            <p:nvPr/>
          </p:nvGrpSpPr>
          <p:grpSpPr>
            <a:xfrm>
              <a:off x="7806830" y="1978430"/>
              <a:ext cx="984465" cy="1874895"/>
              <a:chOff x="7806830" y="1978430"/>
              <a:chExt cx="984465" cy="1874895"/>
            </a:xfrm>
          </p:grpSpPr>
          <p:graphicFrame>
            <p:nvGraphicFramePr>
              <p:cNvPr id="18" name="图示 17">
                <a:extLst>
                  <a:ext uri="{FF2B5EF4-FFF2-40B4-BE49-F238E27FC236}">
                    <a16:creationId xmlns:a16="http://schemas.microsoft.com/office/drawing/2014/main" id="{D50E9C42-BED9-FE46-92F2-0F89FC9F38EF}"/>
                  </a:ext>
                </a:extLst>
              </p:cNvPr>
              <p:cNvGraphicFramePr/>
              <p:nvPr/>
            </p:nvGraphicFramePr>
            <p:xfrm>
              <a:off x="7806830" y="2481963"/>
              <a:ext cx="984465" cy="1371362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8" r:lo="rId9" r:qs="rId10" r:cs="rId11"/>
              </a:graphicData>
            </a:graphic>
          </p:graphicFrame>
          <p:sp>
            <p:nvSpPr>
              <p:cNvPr id="19" name="文本框 28">
                <a:extLst>
                  <a:ext uri="{FF2B5EF4-FFF2-40B4-BE49-F238E27FC236}">
                    <a16:creationId xmlns:a16="http://schemas.microsoft.com/office/drawing/2014/main" id="{61C35296-A9CF-CD41-8EC6-B9A309D63F86}"/>
                  </a:ext>
                </a:extLst>
              </p:cNvPr>
              <p:cNvSpPr txBox="1"/>
              <p:nvPr/>
            </p:nvSpPr>
            <p:spPr>
              <a:xfrm>
                <a:off x="7907758" y="1978430"/>
                <a:ext cx="607294" cy="3267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输出</a:t>
                </a:r>
              </a:p>
            </p:txBody>
          </p:sp>
        </p:grpSp>
        <p:cxnSp>
          <p:nvCxnSpPr>
            <p:cNvPr id="12" name="直接箭头连接符 7">
              <a:extLst>
                <a:ext uri="{FF2B5EF4-FFF2-40B4-BE49-F238E27FC236}">
                  <a16:creationId xmlns:a16="http://schemas.microsoft.com/office/drawing/2014/main" id="{0F4DD8DC-74B4-F349-B168-53E06200C35B}"/>
                </a:ext>
              </a:extLst>
            </p:cNvPr>
            <p:cNvCxnSpPr/>
            <p:nvPr/>
          </p:nvCxnSpPr>
          <p:spPr>
            <a:xfrm flipV="1">
              <a:off x="7212418" y="3258589"/>
              <a:ext cx="470351" cy="277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箭头连接符 8">
              <a:extLst>
                <a:ext uri="{FF2B5EF4-FFF2-40B4-BE49-F238E27FC236}">
                  <a16:creationId xmlns:a16="http://schemas.microsoft.com/office/drawing/2014/main" id="{D310EAB9-3EF3-9D43-A0BD-01D7C8305515}"/>
                </a:ext>
              </a:extLst>
            </p:cNvPr>
            <p:cNvCxnSpPr/>
            <p:nvPr/>
          </p:nvCxnSpPr>
          <p:spPr>
            <a:xfrm flipV="1">
              <a:off x="4125026" y="3255819"/>
              <a:ext cx="470351" cy="277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组合 35">
              <a:extLst>
                <a:ext uri="{FF2B5EF4-FFF2-40B4-BE49-F238E27FC236}">
                  <a16:creationId xmlns:a16="http://schemas.microsoft.com/office/drawing/2014/main" id="{A0726EFC-2629-3440-92B7-B00F911E3F4A}"/>
                </a:ext>
              </a:extLst>
            </p:cNvPr>
            <p:cNvGrpSpPr/>
            <p:nvPr/>
          </p:nvGrpSpPr>
          <p:grpSpPr>
            <a:xfrm>
              <a:off x="4707659" y="2344185"/>
              <a:ext cx="2392477" cy="2610200"/>
              <a:chOff x="4707659" y="2344185"/>
              <a:chExt cx="2392477" cy="2610200"/>
            </a:xfrm>
          </p:grpSpPr>
          <p:pic>
            <p:nvPicPr>
              <p:cNvPr id="15" name="图片 14">
                <a:extLst>
                  <a:ext uri="{FF2B5EF4-FFF2-40B4-BE49-F238E27FC236}">
                    <a16:creationId xmlns:a16="http://schemas.microsoft.com/office/drawing/2014/main" id="{99E63739-6D89-B248-803E-F2E32F93C0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5478188" y="2764406"/>
                <a:ext cx="1139440" cy="2118882"/>
              </a:xfrm>
              <a:prstGeom prst="rect">
                <a:avLst/>
              </a:prstGeom>
            </p:spPr>
          </p:pic>
          <p:sp>
            <p:nvSpPr>
              <p:cNvPr id="16" name="圆角矩形 15">
                <a:extLst>
                  <a:ext uri="{FF2B5EF4-FFF2-40B4-BE49-F238E27FC236}">
                    <a16:creationId xmlns:a16="http://schemas.microsoft.com/office/drawing/2014/main" id="{06ABB8AA-12D5-0347-95A0-563E164B4702}"/>
                  </a:ext>
                </a:extLst>
              </p:cNvPr>
              <p:cNvSpPr/>
              <p:nvPr/>
            </p:nvSpPr>
            <p:spPr>
              <a:xfrm>
                <a:off x="4707659" y="2344185"/>
                <a:ext cx="2392477" cy="2610200"/>
              </a:xfrm>
              <a:prstGeom prst="roundRect">
                <a:avLst/>
              </a:prstGeom>
              <a:noFill/>
              <a:ln>
                <a:solidFill>
                  <a:srgbClr val="96B9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17" name="文本框 34">
                <a:extLst>
                  <a:ext uri="{FF2B5EF4-FFF2-40B4-BE49-F238E27FC236}">
                    <a16:creationId xmlns:a16="http://schemas.microsoft.com/office/drawing/2014/main" id="{E2E057FF-E1C8-8043-A7CA-5D6B327F923A}"/>
                  </a:ext>
                </a:extLst>
              </p:cNvPr>
              <p:cNvSpPr txBox="1"/>
              <p:nvPr/>
            </p:nvSpPr>
            <p:spPr>
              <a:xfrm>
                <a:off x="5282740" y="2382026"/>
                <a:ext cx="1235528" cy="3267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b="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迭代计划会</a:t>
                </a:r>
              </a:p>
            </p:txBody>
          </p:sp>
        </p:grpSp>
      </p:grpSp>
      <p:sp>
        <p:nvSpPr>
          <p:cNvPr id="33" name="标题 1">
            <a:extLst>
              <a:ext uri="{FF2B5EF4-FFF2-40B4-BE49-F238E27FC236}">
                <a16:creationId xmlns:a16="http://schemas.microsoft.com/office/drawing/2014/main" id="{BAC94841-7A9C-4A4D-BE49-3F48DF2DCA59}"/>
              </a:ext>
            </a:extLst>
          </p:cNvPr>
          <p:cNvSpPr txBox="1">
            <a:spLocks/>
          </p:cNvSpPr>
          <p:nvPr/>
        </p:nvSpPr>
        <p:spPr>
          <a:xfrm>
            <a:off x="446236" y="1134583"/>
            <a:ext cx="10128450" cy="1325563"/>
          </a:xfrm>
          <a:prstGeom prst="rect">
            <a:avLst/>
          </a:prstGeom>
        </p:spPr>
        <p:txBody>
          <a:bodyPr vert="horz" lIns="91352" tIns="45677" rIns="91352" bIns="45677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zh-CN" altLang="en-US" sz="2800">
                <a:latin typeface="Microsoft YaHei" panose="020B0503020204020204" pitchFamily="34" charset="-122"/>
                <a:ea typeface="Microsoft YaHei" panose="020B0503020204020204" pitchFamily="34" charset="-122"/>
              </a:rPr>
              <a:t>迭代计划会</a:t>
            </a:r>
          </a:p>
        </p:txBody>
      </p:sp>
      <p:pic>
        <p:nvPicPr>
          <p:cNvPr id="34" name="图片 33">
            <a:extLst>
              <a:ext uri="{FF2B5EF4-FFF2-40B4-BE49-F238E27FC236}">
                <a16:creationId xmlns:a16="http://schemas.microsoft.com/office/drawing/2014/main" id="{AA1D2332-B28B-6748-AAA6-BC45E23396D3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8686801" y="1066800"/>
            <a:ext cx="3124200" cy="5702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939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969953" y="1170893"/>
            <a:ext cx="5999018" cy="3731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457200" indent="-457200">
              <a:lnSpc>
                <a:spcPct val="200000"/>
              </a:lnSpc>
              <a:buFont typeface="Arial" panose="020B0604020202020204" pitchFamily="34" charset="0"/>
              <a:buChar char="•"/>
              <a:defRPr kumimoji="1" sz="2400" b="1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914400" lvl="1" indent="-457200">
              <a:lnSpc>
                <a:spcPct val="200000"/>
              </a:lnSpc>
              <a:buFont typeface="+mj-lt"/>
              <a:buAutoNum type="arabicPeriod"/>
              <a:defRPr kumimoji="1" sz="2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</a:lstStyle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/>
              <a:t>什么是工程效能？</a:t>
            </a:r>
            <a:endParaRPr lang="en-US" altLang="zh-CN" sz="2000" dirty="0"/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/>
              <a:t>什么是敏捷？</a:t>
            </a:r>
            <a:endParaRPr lang="en-US" altLang="zh-CN" sz="2000" dirty="0"/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zh-CN" altLang="en-US" sz="2000" dirty="0"/>
              <a:t>如何落地敏捷？</a:t>
            </a:r>
            <a:endParaRPr lang="en-US" altLang="zh-CN" sz="2000" dirty="0"/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/>
              <a:t>3.1</a:t>
            </a:r>
            <a:r>
              <a:rPr lang="zh-CN" altLang="en-US" sz="1600" dirty="0"/>
              <a:t> </a:t>
            </a:r>
            <a:r>
              <a:rPr lang="en-US" altLang="zh-CN" sz="1600" dirty="0"/>
              <a:t>Scrum </a:t>
            </a:r>
            <a:r>
              <a:rPr lang="zh-CN" altLang="en-US" sz="1600" dirty="0"/>
              <a:t>的框架</a:t>
            </a:r>
            <a:endParaRPr lang="en-US" altLang="zh-CN" sz="1600" dirty="0"/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/>
              <a:t>3.2</a:t>
            </a:r>
            <a:r>
              <a:rPr lang="zh-CN" altLang="en-US" sz="1600" dirty="0"/>
              <a:t> 建立</a:t>
            </a:r>
            <a:r>
              <a:rPr lang="en-US" altLang="zh-CN" sz="1600" dirty="0"/>
              <a:t>Scrum</a:t>
            </a:r>
            <a:r>
              <a:rPr lang="zh-CN" altLang="en-US" sz="1600" dirty="0"/>
              <a:t> </a:t>
            </a:r>
            <a:r>
              <a:rPr lang="en-US" altLang="zh-CN" sz="1600" dirty="0"/>
              <a:t>Team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/>
              <a:t>3.3</a:t>
            </a:r>
            <a:r>
              <a:rPr lang="zh-CN" altLang="en-US" sz="1600" dirty="0"/>
              <a:t> 产品 </a:t>
            </a:r>
            <a:r>
              <a:rPr lang="en-US" altLang="zh-CN" sz="1600" dirty="0"/>
              <a:t>Backlog</a:t>
            </a:r>
            <a:r>
              <a:rPr lang="zh-CN" altLang="en-US" sz="1600" dirty="0"/>
              <a:t>准备</a:t>
            </a:r>
            <a:endParaRPr lang="en-US" altLang="zh-CN" sz="1600" dirty="0"/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/>
              <a:t>3.4</a:t>
            </a:r>
            <a:r>
              <a:rPr lang="zh-CN" altLang="en-US" sz="1600" dirty="0"/>
              <a:t> 双周迭代</a:t>
            </a:r>
            <a:endParaRPr lang="en-US" altLang="zh-CN" sz="1600" dirty="0"/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/>
              <a:t>3.5</a:t>
            </a:r>
            <a:r>
              <a:rPr lang="zh-CN" altLang="en-US" sz="1600" dirty="0"/>
              <a:t> 常见问题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US" altLang="zh-CN" sz="2000" dirty="0" err="1"/>
              <a:t>Icafe</a:t>
            </a:r>
            <a:r>
              <a:rPr lang="en-US" altLang="zh-CN" sz="2000" dirty="0"/>
              <a:t> </a:t>
            </a:r>
            <a:r>
              <a:rPr lang="zh-CN" altLang="en-US" sz="2000" dirty="0"/>
              <a:t>的落地使用</a:t>
            </a:r>
            <a:endParaRPr lang="en-US" altLang="zh-CN" sz="200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 4">
            <a:extLst>
              <a:ext uri="{FF2B5EF4-FFF2-40B4-BE49-F238E27FC236}">
                <a16:creationId xmlns:a16="http://schemas.microsoft.com/office/drawing/2014/main" id="{2A81C3FD-865F-D547-B606-B3B8F16420CB}"/>
              </a:ext>
            </a:extLst>
          </p:cNvPr>
          <p:cNvGrpSpPr>
            <a:grpSpLocks/>
          </p:cNvGrpSpPr>
          <p:nvPr/>
        </p:nvGrpSpPr>
        <p:grpSpPr>
          <a:xfrm>
            <a:off x="5961986" y="2155902"/>
            <a:ext cx="5547807" cy="3525713"/>
            <a:chOff x="1153094" y="753296"/>
            <a:chExt cx="9449818" cy="5376830"/>
          </a:xfrm>
        </p:grpSpPr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id="{F0A099DA-1FE2-5143-907E-72FDA8431F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3094" y="753296"/>
              <a:ext cx="8853785" cy="5376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A36084C1-F9F9-2046-ABB7-D8B6647B6888}"/>
                </a:ext>
              </a:extLst>
            </p:cNvPr>
            <p:cNvSpPr/>
            <p:nvPr/>
          </p:nvSpPr>
          <p:spPr>
            <a:xfrm>
              <a:off x="9078912" y="1143000"/>
              <a:ext cx="1524000" cy="7207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6" name="标题 1">
            <a:extLst>
              <a:ext uri="{FF2B5EF4-FFF2-40B4-BE49-F238E27FC236}">
                <a16:creationId xmlns:a16="http://schemas.microsoft.com/office/drawing/2014/main" id="{CE6C4566-AFAF-B845-A10A-199D1E59C273}"/>
              </a:ext>
            </a:extLst>
          </p:cNvPr>
          <p:cNvSpPr txBox="1">
            <a:spLocks/>
          </p:cNvSpPr>
          <p:nvPr/>
        </p:nvSpPr>
        <p:spPr>
          <a:xfrm>
            <a:off x="6618083" y="1373431"/>
            <a:ext cx="3639494" cy="415715"/>
          </a:xfrm>
          <a:prstGeom prst="rect">
            <a:avLst/>
          </a:prstGeom>
        </p:spPr>
        <p:txBody>
          <a:bodyPr vert="horz" lIns="91352" tIns="45677" rIns="91352" bIns="45677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algn="ctr"/>
            <a:r>
              <a:rPr lang="en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O</a:t>
            </a:r>
            <a:r>
              <a:rPr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如何影响</a:t>
            </a:r>
            <a:r>
              <a:rPr lang="en" altLang="zh-Han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</a:t>
            </a:r>
            <a:r>
              <a:rPr lang="en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rint </a:t>
            </a:r>
            <a:r>
              <a:rPr lang="en" altLang="zh-Han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  <a:r>
              <a:rPr lang="en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cklog</a:t>
            </a: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871D8A9A-C4BA-7F42-BFDE-9BC3DA6DD987}"/>
              </a:ext>
            </a:extLst>
          </p:cNvPr>
          <p:cNvSpPr/>
          <p:nvPr/>
        </p:nvSpPr>
        <p:spPr>
          <a:xfrm>
            <a:off x="10515601" y="990601"/>
            <a:ext cx="800099" cy="87312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A530213D-FA4D-1D45-85CD-F748E7B84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rgbClr val="4472C4"/>
                </a:solidFill>
              </a:rPr>
              <a:t>迭代计划</a:t>
            </a:r>
            <a:r>
              <a:rPr kumimoji="1" lang="en-US" altLang="zh-CN" sz="2000" dirty="0">
                <a:solidFill>
                  <a:srgbClr val="4472C4"/>
                </a:solidFill>
              </a:rPr>
              <a:t>-&gt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开发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&amp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Show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Case-&gt;Retro</a:t>
            </a:r>
            <a:endParaRPr kumimoji="1" lang="zh-CN" alt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EB2A3FFE-F66E-8647-977C-EF48B61F9E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229" y="2853140"/>
            <a:ext cx="4690974" cy="2131236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B8DA0150-81E0-644F-AE62-A19A6B09FAE0}"/>
              </a:ext>
            </a:extLst>
          </p:cNvPr>
          <p:cNvSpPr/>
          <p:nvPr/>
        </p:nvSpPr>
        <p:spPr>
          <a:xfrm>
            <a:off x="1881652" y="1397523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话与调整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7352253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A02A6621-F0FF-714F-8D14-4DFBB86D7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rgbClr val="4472C4"/>
                </a:solidFill>
              </a:rPr>
              <a:t>迭代计划</a:t>
            </a:r>
            <a:r>
              <a:rPr kumimoji="1" lang="en-US" altLang="zh-CN" sz="2000" dirty="0">
                <a:solidFill>
                  <a:srgbClr val="4472C4"/>
                </a:solidFill>
              </a:rPr>
              <a:t>-&gt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开发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&amp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Show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Case-&gt;Retro</a:t>
            </a:r>
            <a:endParaRPr kumimoji="1" lang="zh-CN" alt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4" name="组合 5">
            <a:extLst>
              <a:ext uri="{FF2B5EF4-FFF2-40B4-BE49-F238E27FC236}">
                <a16:creationId xmlns:a16="http://schemas.microsoft.com/office/drawing/2014/main" id="{8888266B-D85D-9B43-AEC3-1E6F1303B629}"/>
              </a:ext>
            </a:extLst>
          </p:cNvPr>
          <p:cNvGrpSpPr/>
          <p:nvPr/>
        </p:nvGrpSpPr>
        <p:grpSpPr>
          <a:xfrm>
            <a:off x="4617706" y="1286579"/>
            <a:ext cx="7306267" cy="4791787"/>
            <a:chOff x="1147156" y="1163782"/>
            <a:chExt cx="7232073" cy="4555374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F5A5402E-7A22-674F-94D0-B4B6F68A88FF}"/>
                </a:ext>
              </a:extLst>
            </p:cNvPr>
            <p:cNvGrpSpPr/>
            <p:nvPr/>
          </p:nvGrpSpPr>
          <p:grpSpPr>
            <a:xfrm>
              <a:off x="1285216" y="1405607"/>
              <a:ext cx="6965531" cy="4090054"/>
              <a:chOff x="529600" y="620688"/>
              <a:chExt cx="6775966" cy="3828264"/>
            </a:xfrm>
          </p:grpSpPr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D6ABD1CE-A132-5249-85C8-FFD48CA81BC2}"/>
                  </a:ext>
                </a:extLst>
              </p:cNvPr>
              <p:cNvSpPr/>
              <p:nvPr/>
            </p:nvSpPr>
            <p:spPr>
              <a:xfrm>
                <a:off x="579621" y="1184881"/>
                <a:ext cx="1226564" cy="1379139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分析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开发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测试</a:t>
                </a:r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03FD85D9-B7AE-F04C-82F0-236873C0D053}"/>
                  </a:ext>
                </a:extLst>
              </p:cNvPr>
              <p:cNvSpPr/>
              <p:nvPr/>
            </p:nvSpPr>
            <p:spPr>
              <a:xfrm>
                <a:off x="539552" y="620688"/>
                <a:ext cx="1234156" cy="430459"/>
              </a:xfrm>
              <a:prstGeom prst="round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02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周一</a:t>
                </a:r>
              </a:p>
            </p:txBody>
          </p:sp>
          <p:sp>
            <p:nvSpPr>
              <p:cNvPr id="12" name="圆角矩形 11">
                <a:extLst>
                  <a:ext uri="{FF2B5EF4-FFF2-40B4-BE49-F238E27FC236}">
                    <a16:creationId xmlns:a16="http://schemas.microsoft.com/office/drawing/2014/main" id="{0482E0EB-3A48-FB40-A62B-9C49A1C97A06}"/>
                  </a:ext>
                </a:extLst>
              </p:cNvPr>
              <p:cNvSpPr/>
              <p:nvPr/>
            </p:nvSpPr>
            <p:spPr>
              <a:xfrm>
                <a:off x="1919857" y="620688"/>
                <a:ext cx="1234156" cy="430459"/>
              </a:xfrm>
              <a:prstGeom prst="round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02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周二</a:t>
                </a: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9EC39C91-19E9-DB4E-9037-BC10F2FCD1FB}"/>
                  </a:ext>
                </a:extLst>
              </p:cNvPr>
              <p:cNvSpPr/>
              <p:nvPr/>
            </p:nvSpPr>
            <p:spPr>
              <a:xfrm>
                <a:off x="3300163" y="620688"/>
                <a:ext cx="1234156" cy="430459"/>
              </a:xfrm>
              <a:prstGeom prst="round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02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周三</a:t>
                </a: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259E34C3-7710-9E4C-8E8D-DBA3C5A9D406}"/>
                  </a:ext>
                </a:extLst>
              </p:cNvPr>
              <p:cNvSpPr/>
              <p:nvPr/>
            </p:nvSpPr>
            <p:spPr>
              <a:xfrm>
                <a:off x="635660" y="1321638"/>
                <a:ext cx="1104245" cy="463369"/>
              </a:xfrm>
              <a:prstGeom prst="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14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迭代计划会</a:t>
                </a:r>
              </a:p>
            </p:txBody>
          </p:sp>
          <p:sp>
            <p:nvSpPr>
              <p:cNvPr id="15" name="圆角矩形 14">
                <a:extLst>
                  <a:ext uri="{FF2B5EF4-FFF2-40B4-BE49-F238E27FC236}">
                    <a16:creationId xmlns:a16="http://schemas.microsoft.com/office/drawing/2014/main" id="{0FE73905-5D38-2040-ADE9-9C1D3D7A0030}"/>
                  </a:ext>
                </a:extLst>
              </p:cNvPr>
              <p:cNvSpPr/>
              <p:nvPr/>
            </p:nvSpPr>
            <p:spPr>
              <a:xfrm>
                <a:off x="1919857" y="1184881"/>
                <a:ext cx="1282872" cy="1379139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分析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开发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测试</a:t>
                </a:r>
              </a:p>
            </p:txBody>
          </p:sp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570A0426-9094-834E-86DB-C3911D238E68}"/>
                  </a:ext>
                </a:extLst>
              </p:cNvPr>
              <p:cNvSpPr/>
              <p:nvPr/>
            </p:nvSpPr>
            <p:spPr>
              <a:xfrm>
                <a:off x="2001051" y="1310257"/>
                <a:ext cx="1104245" cy="31344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17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站会</a:t>
                </a:r>
              </a:p>
            </p:txBody>
          </p:sp>
          <p:grpSp>
            <p:nvGrpSpPr>
              <p:cNvPr id="17" name="组合 72">
                <a:extLst>
                  <a:ext uri="{FF2B5EF4-FFF2-40B4-BE49-F238E27FC236}">
                    <a16:creationId xmlns:a16="http://schemas.microsoft.com/office/drawing/2014/main" id="{159596E1-7E99-8542-8183-02F2A86C6460}"/>
                  </a:ext>
                </a:extLst>
              </p:cNvPr>
              <p:cNvGrpSpPr/>
              <p:nvPr/>
            </p:nvGrpSpPr>
            <p:grpSpPr>
              <a:xfrm>
                <a:off x="3299904" y="1184881"/>
                <a:ext cx="1285745" cy="1379139"/>
                <a:chOff x="3425476" y="1335638"/>
                <a:chExt cx="1414059" cy="1571636"/>
              </a:xfrm>
            </p:grpSpPr>
            <p:sp>
              <p:nvSpPr>
                <p:cNvPr id="37" name="圆角矩形 36">
                  <a:extLst>
                    <a:ext uri="{FF2B5EF4-FFF2-40B4-BE49-F238E27FC236}">
                      <a16:creationId xmlns:a16="http://schemas.microsoft.com/office/drawing/2014/main" id="{328CBFFA-75D5-024E-8F9F-4C334478762B}"/>
                    </a:ext>
                  </a:extLst>
                </p:cNvPr>
                <p:cNvSpPr/>
                <p:nvPr/>
              </p:nvSpPr>
              <p:spPr>
                <a:xfrm>
                  <a:off x="3425476" y="1335638"/>
                  <a:ext cx="1414059" cy="157163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/>
                <a:lstStyle/>
                <a:p>
                  <a:pPr algn="ctr"/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分析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开发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测试</a:t>
                  </a:r>
                </a:p>
              </p:txBody>
            </p:sp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928AD8EF-F731-E344-BB0B-CE282669EDF7}"/>
                    </a:ext>
                  </a:extLst>
                </p:cNvPr>
                <p:cNvSpPr/>
                <p:nvPr/>
              </p:nvSpPr>
              <p:spPr>
                <a:xfrm>
                  <a:off x="3550176" y="1478514"/>
                  <a:ext cx="1135653" cy="35719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617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站会</a:t>
                  </a:r>
                </a:p>
              </p:txBody>
            </p:sp>
          </p:grpSp>
          <p:sp>
            <p:nvSpPr>
              <p:cNvPr id="18" name="圆角矩形 17">
                <a:extLst>
                  <a:ext uri="{FF2B5EF4-FFF2-40B4-BE49-F238E27FC236}">
                    <a16:creationId xmlns:a16="http://schemas.microsoft.com/office/drawing/2014/main" id="{8DCCB22D-2D22-114A-906C-75C8DF0219F8}"/>
                  </a:ext>
                </a:extLst>
              </p:cNvPr>
              <p:cNvSpPr/>
              <p:nvPr/>
            </p:nvSpPr>
            <p:spPr>
              <a:xfrm>
                <a:off x="4726482" y="620688"/>
                <a:ext cx="1234156" cy="430459"/>
              </a:xfrm>
              <a:prstGeom prst="round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02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周四</a:t>
                </a:r>
              </a:p>
            </p:txBody>
          </p:sp>
          <p:sp>
            <p:nvSpPr>
              <p:cNvPr id="19" name="圆角矩形 18">
                <a:extLst>
                  <a:ext uri="{FF2B5EF4-FFF2-40B4-BE49-F238E27FC236}">
                    <a16:creationId xmlns:a16="http://schemas.microsoft.com/office/drawing/2014/main" id="{F12C05CA-6082-2E4C-AC3C-B014849489D9}"/>
                  </a:ext>
                </a:extLst>
              </p:cNvPr>
              <p:cNvSpPr/>
              <p:nvPr/>
            </p:nvSpPr>
            <p:spPr>
              <a:xfrm>
                <a:off x="6071410" y="620688"/>
                <a:ext cx="1234156" cy="430459"/>
              </a:xfrm>
              <a:prstGeom prst="round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021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周五</a:t>
                </a:r>
              </a:p>
            </p:txBody>
          </p:sp>
          <p:sp>
            <p:nvSpPr>
              <p:cNvPr id="20" name="圆角矩形 19">
                <a:extLst>
                  <a:ext uri="{FF2B5EF4-FFF2-40B4-BE49-F238E27FC236}">
                    <a16:creationId xmlns:a16="http://schemas.microsoft.com/office/drawing/2014/main" id="{209630D9-B1B5-4F4A-A66E-CF89A0466888}"/>
                  </a:ext>
                </a:extLst>
              </p:cNvPr>
              <p:cNvSpPr/>
              <p:nvPr/>
            </p:nvSpPr>
            <p:spPr>
              <a:xfrm>
                <a:off x="4729877" y="1189382"/>
                <a:ext cx="1312946" cy="1379139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分析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开发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测试</a:t>
                </a:r>
              </a:p>
            </p:txBody>
          </p:sp>
          <p:sp>
            <p:nvSpPr>
              <p:cNvPr id="21" name="矩形 16">
                <a:extLst>
                  <a:ext uri="{FF2B5EF4-FFF2-40B4-BE49-F238E27FC236}">
                    <a16:creationId xmlns:a16="http://schemas.microsoft.com/office/drawing/2014/main" id="{E9D05C7F-BA01-FD49-A285-8084069DA572}"/>
                  </a:ext>
                </a:extLst>
              </p:cNvPr>
              <p:cNvSpPr/>
              <p:nvPr/>
            </p:nvSpPr>
            <p:spPr>
              <a:xfrm>
                <a:off x="4811072" y="1314759"/>
                <a:ext cx="1104245" cy="31344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17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站会</a:t>
                </a:r>
              </a:p>
            </p:txBody>
          </p:sp>
          <p:grpSp>
            <p:nvGrpSpPr>
              <p:cNvPr id="22" name="组合 47">
                <a:extLst>
                  <a:ext uri="{FF2B5EF4-FFF2-40B4-BE49-F238E27FC236}">
                    <a16:creationId xmlns:a16="http://schemas.microsoft.com/office/drawing/2014/main" id="{81BBB3DA-D068-E94D-8726-A86621DF7F4D}"/>
                  </a:ext>
                </a:extLst>
              </p:cNvPr>
              <p:cNvGrpSpPr/>
              <p:nvPr/>
            </p:nvGrpSpPr>
            <p:grpSpPr>
              <a:xfrm>
                <a:off x="6170301" y="1189383"/>
                <a:ext cx="1133958" cy="1379139"/>
                <a:chOff x="3347864" y="1335638"/>
                <a:chExt cx="1247125" cy="1571636"/>
              </a:xfrm>
            </p:grpSpPr>
            <p:sp>
              <p:nvSpPr>
                <p:cNvPr id="35" name="圆角矩形 34">
                  <a:extLst>
                    <a:ext uri="{FF2B5EF4-FFF2-40B4-BE49-F238E27FC236}">
                      <a16:creationId xmlns:a16="http://schemas.microsoft.com/office/drawing/2014/main" id="{BD9E6E39-423C-3448-B7EF-BF27B2A75D71}"/>
                    </a:ext>
                  </a:extLst>
                </p:cNvPr>
                <p:cNvSpPr/>
                <p:nvPr/>
              </p:nvSpPr>
              <p:spPr>
                <a:xfrm>
                  <a:off x="3347864" y="1335638"/>
                  <a:ext cx="1247125" cy="157163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/>
                <a:lstStyle/>
                <a:p>
                  <a:pPr algn="ctr"/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分析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开发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测试</a:t>
                  </a:r>
                </a:p>
              </p:txBody>
            </p:sp>
            <p:sp>
              <p:nvSpPr>
                <p:cNvPr id="36" name="矩形 35">
                  <a:extLst>
                    <a:ext uri="{FF2B5EF4-FFF2-40B4-BE49-F238E27FC236}">
                      <a16:creationId xmlns:a16="http://schemas.microsoft.com/office/drawing/2014/main" id="{FBE88595-066D-DB4A-BC6E-1DA92C4B83A8}"/>
                    </a:ext>
                  </a:extLst>
                </p:cNvPr>
                <p:cNvSpPr/>
                <p:nvPr/>
              </p:nvSpPr>
              <p:spPr>
                <a:xfrm>
                  <a:off x="3362366" y="1478514"/>
                  <a:ext cx="1214446" cy="35719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2021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站会</a:t>
                  </a:r>
                </a:p>
              </p:txBody>
            </p:sp>
          </p:grpSp>
          <p:sp>
            <p:nvSpPr>
              <p:cNvPr id="23" name="圆角矩形 22">
                <a:extLst>
                  <a:ext uri="{FF2B5EF4-FFF2-40B4-BE49-F238E27FC236}">
                    <a16:creationId xmlns:a16="http://schemas.microsoft.com/office/drawing/2014/main" id="{6352338F-A03C-2C4A-A922-B1E6EA766CC0}"/>
                  </a:ext>
                </a:extLst>
              </p:cNvPr>
              <p:cNvSpPr/>
              <p:nvPr/>
            </p:nvSpPr>
            <p:spPr>
              <a:xfrm>
                <a:off x="1914503" y="2642713"/>
                <a:ext cx="1282872" cy="1806238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分析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开发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测试</a:t>
                </a: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6B6EEBC9-B849-6447-9185-AA3F2A017BAC}"/>
                  </a:ext>
                </a:extLst>
              </p:cNvPr>
              <p:cNvSpPr/>
              <p:nvPr/>
            </p:nvSpPr>
            <p:spPr>
              <a:xfrm>
                <a:off x="1995697" y="2768090"/>
                <a:ext cx="1104245" cy="31344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17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站会</a:t>
                </a:r>
              </a:p>
            </p:txBody>
          </p:sp>
          <p:grpSp>
            <p:nvGrpSpPr>
              <p:cNvPr id="25" name="组合 55">
                <a:extLst>
                  <a:ext uri="{FF2B5EF4-FFF2-40B4-BE49-F238E27FC236}">
                    <a16:creationId xmlns:a16="http://schemas.microsoft.com/office/drawing/2014/main" id="{A7ADCDC1-CF35-784F-B989-3DB5683775D6}"/>
                  </a:ext>
                </a:extLst>
              </p:cNvPr>
              <p:cNvGrpSpPr/>
              <p:nvPr/>
            </p:nvGrpSpPr>
            <p:grpSpPr>
              <a:xfrm>
                <a:off x="3324322" y="2642713"/>
                <a:ext cx="1261327" cy="1806239"/>
                <a:chOff x="3458223" y="1335637"/>
                <a:chExt cx="1387205" cy="2058350"/>
              </a:xfrm>
            </p:grpSpPr>
            <p:sp>
              <p:nvSpPr>
                <p:cNvPr id="33" name="圆角矩形 32">
                  <a:extLst>
                    <a:ext uri="{FF2B5EF4-FFF2-40B4-BE49-F238E27FC236}">
                      <a16:creationId xmlns:a16="http://schemas.microsoft.com/office/drawing/2014/main" id="{12BFB2AB-615A-0444-B520-B323BD693A17}"/>
                    </a:ext>
                  </a:extLst>
                </p:cNvPr>
                <p:cNvSpPr/>
                <p:nvPr/>
              </p:nvSpPr>
              <p:spPr>
                <a:xfrm>
                  <a:off x="3458223" y="1335637"/>
                  <a:ext cx="1387205" cy="2058350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/>
                <a:lstStyle/>
                <a:p>
                  <a:pPr algn="ctr"/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分析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开发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测试</a:t>
                  </a:r>
                </a:p>
              </p:txBody>
            </p:sp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0B92B7D7-62E2-4A43-B87F-5F7E3F28A002}"/>
                    </a:ext>
                  </a:extLst>
                </p:cNvPr>
                <p:cNvSpPr/>
                <p:nvPr/>
              </p:nvSpPr>
              <p:spPr>
                <a:xfrm>
                  <a:off x="3532561" y="1478514"/>
                  <a:ext cx="1214446" cy="35719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617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站会</a:t>
                  </a:r>
                </a:p>
              </p:txBody>
            </p:sp>
          </p:grpSp>
          <p:sp>
            <p:nvSpPr>
              <p:cNvPr id="26" name="圆角矩形 21">
                <a:extLst>
                  <a:ext uri="{FF2B5EF4-FFF2-40B4-BE49-F238E27FC236}">
                    <a16:creationId xmlns:a16="http://schemas.microsoft.com/office/drawing/2014/main" id="{A9698812-2E28-364B-9E88-2F936F7FB0E0}"/>
                  </a:ext>
                </a:extLst>
              </p:cNvPr>
              <p:cNvSpPr/>
              <p:nvPr/>
            </p:nvSpPr>
            <p:spPr>
              <a:xfrm>
                <a:off x="4724523" y="2647214"/>
                <a:ext cx="1234809" cy="1801738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分析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开发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测试</a:t>
                </a: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50AB09D8-AC0E-0241-A47A-BCA6A22DA68F}"/>
                  </a:ext>
                </a:extLst>
              </p:cNvPr>
              <p:cNvSpPr/>
              <p:nvPr/>
            </p:nvSpPr>
            <p:spPr>
              <a:xfrm>
                <a:off x="4805717" y="2772592"/>
                <a:ext cx="1134741" cy="31344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17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站会</a:t>
                </a:r>
              </a:p>
            </p:txBody>
          </p:sp>
          <p:grpSp>
            <p:nvGrpSpPr>
              <p:cNvPr id="28" name="组合 61">
                <a:extLst>
                  <a:ext uri="{FF2B5EF4-FFF2-40B4-BE49-F238E27FC236}">
                    <a16:creationId xmlns:a16="http://schemas.microsoft.com/office/drawing/2014/main" id="{ED6B2EC0-A554-C744-B627-8B7BFCB5559D}"/>
                  </a:ext>
                </a:extLst>
              </p:cNvPr>
              <p:cNvGrpSpPr/>
              <p:nvPr/>
            </p:nvGrpSpPr>
            <p:grpSpPr>
              <a:xfrm>
                <a:off x="6127451" y="2647215"/>
                <a:ext cx="1176812" cy="1801736"/>
                <a:chOff x="3306622" y="1335637"/>
                <a:chExt cx="1294254" cy="2053220"/>
              </a:xfrm>
            </p:grpSpPr>
            <p:sp>
              <p:nvSpPr>
                <p:cNvPr id="31" name="圆角矩形 30">
                  <a:extLst>
                    <a:ext uri="{FF2B5EF4-FFF2-40B4-BE49-F238E27FC236}">
                      <a16:creationId xmlns:a16="http://schemas.microsoft.com/office/drawing/2014/main" id="{E4A54A28-23DE-5048-95BD-30843DABFCD5}"/>
                    </a:ext>
                  </a:extLst>
                </p:cNvPr>
                <p:cNvSpPr/>
                <p:nvPr/>
              </p:nvSpPr>
              <p:spPr>
                <a:xfrm>
                  <a:off x="3306622" y="1335637"/>
                  <a:ext cx="1294254" cy="2053220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/>
                <a:lstStyle/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endPara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  <a:p>
                  <a:pPr algn="ctr"/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分析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开发测试</a:t>
                  </a:r>
                  <a:r>
                    <a:rPr lang="en-US" altLang="zh-CN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/</a:t>
                  </a:r>
                  <a:r>
                    <a:rPr lang="zh-CN" altLang="en-US" sz="1414" dirty="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上线</a:t>
                  </a:r>
                </a:p>
              </p:txBody>
            </p:sp>
            <p:sp>
              <p:nvSpPr>
                <p:cNvPr id="32" name="矩形 27">
                  <a:extLst>
                    <a:ext uri="{FF2B5EF4-FFF2-40B4-BE49-F238E27FC236}">
                      <a16:creationId xmlns:a16="http://schemas.microsoft.com/office/drawing/2014/main" id="{E6FDA18D-94E9-1346-995B-A274CE68BB13}"/>
                    </a:ext>
                  </a:extLst>
                </p:cNvPr>
                <p:cNvSpPr/>
                <p:nvPr/>
              </p:nvSpPr>
              <p:spPr>
                <a:xfrm>
                  <a:off x="3324796" y="1478514"/>
                  <a:ext cx="1214445" cy="35719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617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站会</a:t>
                  </a:r>
                </a:p>
              </p:txBody>
            </p:sp>
          </p:grpSp>
          <p:sp>
            <p:nvSpPr>
              <p:cNvPr id="29" name="圆角矩形 24">
                <a:extLst>
                  <a:ext uri="{FF2B5EF4-FFF2-40B4-BE49-F238E27FC236}">
                    <a16:creationId xmlns:a16="http://schemas.microsoft.com/office/drawing/2014/main" id="{1749DA99-F77C-5442-8E91-A82D3B6ECFEA}"/>
                  </a:ext>
                </a:extLst>
              </p:cNvPr>
              <p:cNvSpPr/>
              <p:nvPr/>
            </p:nvSpPr>
            <p:spPr>
              <a:xfrm>
                <a:off x="529600" y="2636912"/>
                <a:ext cx="1282872" cy="1812040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分析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开发</a:t>
                </a:r>
                <a:r>
                  <a:rPr lang="en-US" altLang="zh-CN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/</a:t>
                </a:r>
                <a:r>
                  <a:rPr lang="zh-CN" altLang="en-US" sz="1414" dirty="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测试</a:t>
                </a:r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28763751-B655-9149-A7EE-4CFD14B03E42}"/>
                  </a:ext>
                </a:extLst>
              </p:cNvPr>
              <p:cNvSpPr/>
              <p:nvPr/>
            </p:nvSpPr>
            <p:spPr>
              <a:xfrm>
                <a:off x="596149" y="2762288"/>
                <a:ext cx="1104245" cy="31344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17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站会</a:t>
                </a:r>
              </a:p>
            </p:txBody>
          </p:sp>
        </p:grp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D7C0DBF-217C-2546-B101-9C520730C5F6}"/>
                </a:ext>
              </a:extLst>
            </p:cNvPr>
            <p:cNvSpPr/>
            <p:nvPr/>
          </p:nvSpPr>
          <p:spPr>
            <a:xfrm>
              <a:off x="5647712" y="4165775"/>
              <a:ext cx="1160559" cy="403006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414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需求评审会</a:t>
              </a: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841C2126-1C66-5241-B21E-8982D8A96459}"/>
                </a:ext>
              </a:extLst>
            </p:cNvPr>
            <p:cNvSpPr/>
            <p:nvPr/>
          </p:nvSpPr>
          <p:spPr>
            <a:xfrm>
              <a:off x="7060176" y="4119644"/>
              <a:ext cx="1160559" cy="325771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14" dirty="0" err="1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howCase</a:t>
              </a:r>
              <a:endParaRPr lang="zh-CN" altLang="en-US" sz="1414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0EB0D14-6E3E-8544-8606-C0D78E7B72B5}"/>
                </a:ext>
              </a:extLst>
            </p:cNvPr>
            <p:cNvSpPr/>
            <p:nvPr/>
          </p:nvSpPr>
          <p:spPr>
            <a:xfrm>
              <a:off x="7071855" y="4521449"/>
              <a:ext cx="1160559" cy="309216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414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迭代回顾会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8C6EA7D3-6C9B-8B4B-ABF1-ECC796611C62}"/>
                </a:ext>
              </a:extLst>
            </p:cNvPr>
            <p:cNvSpPr/>
            <p:nvPr/>
          </p:nvSpPr>
          <p:spPr>
            <a:xfrm>
              <a:off x="1147156" y="1163782"/>
              <a:ext cx="7232073" cy="4555374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08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9" name="文本框 34">
            <a:extLst>
              <a:ext uri="{FF2B5EF4-FFF2-40B4-BE49-F238E27FC236}">
                <a16:creationId xmlns:a16="http://schemas.microsoft.com/office/drawing/2014/main" id="{683E82A3-A7C3-244E-8A07-39063C9DBD20}"/>
              </a:ext>
            </a:extLst>
          </p:cNvPr>
          <p:cNvSpPr txBox="1"/>
          <p:nvPr/>
        </p:nvSpPr>
        <p:spPr>
          <a:xfrm>
            <a:off x="275981" y="1124432"/>
            <a:ext cx="4056907" cy="494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迭代日历</a:t>
            </a:r>
            <a:endParaRPr lang="en-US" altLang="zh-CN" sz="2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6" indent="-28575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迭代的节奏感让团队能够以稳定的步调工作，使单调而必要的活动成为习惯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6" indent="-28575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因为每个人都知道这些活动在什么时候进行，所以显著降低了安排迭代会议所需要的成本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6" indent="-28575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以为每个人的日程表发出一个重复发生的事件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6" indent="-28575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如果多个团队在做同一个项目，让所有的团队都使用同样的冲刺节奏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6" indent="-28575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明确关键节点，如需求评审、提测时间、产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show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ase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、外部团队集成时间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ADEE985B-E5CF-8A47-9361-946140AE967B}"/>
              </a:ext>
            </a:extLst>
          </p:cNvPr>
          <p:cNvSpPr/>
          <p:nvPr/>
        </p:nvSpPr>
        <p:spPr>
          <a:xfrm>
            <a:off x="4824157" y="4448192"/>
            <a:ext cx="1172465" cy="4239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14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求梳理会</a:t>
            </a:r>
          </a:p>
        </p:txBody>
      </p:sp>
    </p:spTree>
    <p:extLst>
      <p:ext uri="{BB962C8B-B14F-4D97-AF65-F5344CB8AC3E}">
        <p14:creationId xmlns:p14="http://schemas.microsoft.com/office/powerpoint/2010/main" val="24644353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270149DB-0960-B146-BF16-276E4B196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计划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</a:t>
            </a:r>
            <a:r>
              <a:rPr kumimoji="1" lang="zh-CN" altLang="en-US" sz="2000" dirty="0">
                <a:solidFill>
                  <a:srgbClr val="0070C0"/>
                </a:solidFill>
              </a:rPr>
              <a:t>迭代开发</a:t>
            </a:r>
            <a:r>
              <a:rPr kumimoji="1" lang="en-US" altLang="zh-CN" sz="2000" dirty="0">
                <a:solidFill>
                  <a:srgbClr val="0070C0"/>
                </a:solidFill>
              </a:rPr>
              <a:t>&amp;</a:t>
            </a:r>
            <a:r>
              <a:rPr kumimoji="1" lang="zh-CN" altLang="en-US" sz="2000" dirty="0">
                <a:solidFill>
                  <a:srgbClr val="0070C0"/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Show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Case-&gt;Retro</a:t>
            </a:r>
            <a:endParaRPr kumimoji="1" lang="zh-CN" alt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内容占位符 2">
            <a:extLst>
              <a:ext uri="{FF2B5EF4-FFF2-40B4-BE49-F238E27FC236}">
                <a16:creationId xmlns:a16="http://schemas.microsoft.com/office/drawing/2014/main" id="{70B826A1-BDC0-7145-BA46-339E4F45B2E9}"/>
              </a:ext>
            </a:extLst>
          </p:cNvPr>
          <p:cNvSpPr txBox="1">
            <a:spLocks/>
          </p:cNvSpPr>
          <p:nvPr/>
        </p:nvSpPr>
        <p:spPr>
          <a:xfrm>
            <a:off x="822371" y="2877035"/>
            <a:ext cx="4745510" cy="3939329"/>
          </a:xfrm>
          <a:prstGeom prst="rect">
            <a:avLst/>
          </a:prstGeom>
          <a:ln w="19050">
            <a:solidFill>
              <a:srgbClr val="C00000"/>
            </a:solidFill>
            <a:prstDash val="sysDash"/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站会不是一个汇报会。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传统的汇报会很呆板，大家基本没有交流，汇报的对象往往是老板或者组长，气氛不够放松，也不够开放。</a:t>
            </a: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站会不是知识分享会。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当我们解决一个新问题或使用一个新技术时，就特别期望能与队友分享，它要占用很多时间，而且也许只有部分人感兴趣。所以站会不适合做知识分享。如果需要分享，团队可以定期按需求组织此类活动。</a:t>
            </a: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站会不是细节讨论会。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尤其是出现问题时，团队非常容易引发细节讨论，同样也要占用较长时间，我们可以在站会后组织一个跟踪会议，请相关人员与会即可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028E494-3193-2449-86EB-FE0CAB099347}"/>
              </a:ext>
            </a:extLst>
          </p:cNvPr>
          <p:cNvSpPr txBox="1"/>
          <p:nvPr/>
        </p:nvSpPr>
        <p:spPr>
          <a:xfrm>
            <a:off x="2245159" y="2427525"/>
            <a:ext cx="1539190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Hans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错误的站会</a:t>
            </a:r>
            <a:endParaRPr kumimoji="1" lang="zh-CN" altLang="en-US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4803793-53B6-C645-862E-148EDA4D6211}"/>
              </a:ext>
            </a:extLst>
          </p:cNvPr>
          <p:cNvSpPr/>
          <p:nvPr/>
        </p:nvSpPr>
        <p:spPr>
          <a:xfrm>
            <a:off x="6160773" y="2884134"/>
            <a:ext cx="4649065" cy="3932230"/>
          </a:xfrm>
          <a:prstGeom prst="rect">
            <a:avLst/>
          </a:prstGeom>
          <a:ln w="19050">
            <a:solidFill>
              <a:srgbClr val="0070C0"/>
            </a:solidFill>
            <a:prstDash val="sysDash"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坚持使用令牌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促进每个人按顺序主动讲，不需总点名，也不会乱。</a:t>
            </a:r>
            <a:r>
              <a:rPr lang="en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M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最后讲，先让大家讲；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大家站成半圆形</a:t>
            </a:r>
            <a:r>
              <a:rPr lang="zh-CN" altLang="en-US" sz="1400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每个人都能一排看到。不要站成两排，后面的人就会开小差。保持好的阵型，能提高站会效率；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避免站会变成给</a:t>
            </a:r>
            <a:r>
              <a:rPr lang="en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M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汇报会，让</a:t>
            </a:r>
            <a:r>
              <a:rPr lang="zh-CN" altLang="en-US" sz="1400" b="1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每个人多思考</a:t>
            </a:r>
            <a:endParaRPr lang="en-US" altLang="zh-CN" sz="1400" b="1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于讲话较少的同学，你可以采用一问一答的方式，促进多说话和讲问题，</a:t>
            </a:r>
            <a:r>
              <a:rPr lang="zh-CN" altLang="en-US" sz="1400" b="1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及早暴露风险</a:t>
            </a:r>
            <a:endParaRPr lang="en-US" altLang="zh-CN" sz="1400" b="1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每个人围绕自己的</a:t>
            </a:r>
            <a:r>
              <a:rPr lang="zh-CN" altLang="en-US" sz="1400" b="1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需求卡片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进度、质量和障碍去讲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M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做好整体</a:t>
            </a:r>
            <a:r>
              <a:rPr lang="zh-CN" altLang="en-US" sz="1400" b="1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控场</a:t>
            </a:r>
            <a:endParaRPr lang="en-US" altLang="zh-CN" sz="1400" b="1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每个人负责移动自己的任务卡，并及时注意完成的定义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lang="en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3"/>
              </a:rPr>
              <a:t>DoD</a:t>
            </a:r>
            <a:r>
              <a:rPr lang="en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)</a:t>
            </a:r>
            <a:r>
              <a:rPr lang="zh-CN" altLang="e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；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FBB28CC-A4F8-C54E-83EB-4A7605677701}"/>
              </a:ext>
            </a:extLst>
          </p:cNvPr>
          <p:cNvSpPr txBox="1"/>
          <p:nvPr/>
        </p:nvSpPr>
        <p:spPr>
          <a:xfrm>
            <a:off x="7690806" y="2425226"/>
            <a:ext cx="1948779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Hans" altLang="en-US" b="1" dirty="0">
                <a:solidFill>
                  <a:srgbClr val="0070C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站会的技巧</a:t>
            </a:r>
            <a:endParaRPr kumimoji="1" lang="zh-CN" altLang="en-US" b="1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6971A5F-6604-EE44-8869-408C7F3A77FD}"/>
              </a:ext>
            </a:extLst>
          </p:cNvPr>
          <p:cNvSpPr/>
          <p:nvPr/>
        </p:nvSpPr>
        <p:spPr>
          <a:xfrm>
            <a:off x="822371" y="1128502"/>
            <a:ext cx="9987467" cy="1116075"/>
          </a:xfrm>
          <a:prstGeom prst="rect">
            <a:avLst/>
          </a:prstGeom>
          <a:ln w="19050">
            <a:solidFill>
              <a:srgbClr val="0070C0"/>
            </a:solidFill>
            <a:prstDash val="sysDash"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高效站会，及时识别问题和风险</a:t>
            </a:r>
            <a:endParaRPr kumimoji="1" lang="en-US" altLang="zh-CN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团队建议全角色参会，大团队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跨团队站会可以分层、分方向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严格控制时间</a:t>
            </a:r>
            <a:r>
              <a:rPr kumimoji="1"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5min</a:t>
            </a: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使用看板，每个 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D 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回答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『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我昨天完成了什么？我今天要做什么？我被什么东西阻碍了吗？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』</a:t>
            </a:r>
          </a:p>
        </p:txBody>
      </p:sp>
    </p:spTree>
    <p:extLst>
      <p:ext uri="{BB962C8B-B14F-4D97-AF65-F5344CB8AC3E}">
        <p14:creationId xmlns:p14="http://schemas.microsoft.com/office/powerpoint/2010/main" val="1960102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标题 1">
            <a:extLst>
              <a:ext uri="{FF2B5EF4-FFF2-40B4-BE49-F238E27FC236}">
                <a16:creationId xmlns:a16="http://schemas.microsoft.com/office/drawing/2014/main" id="{6F3C88DD-B4D4-CE44-A5DE-3016FBD2E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计划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</a:t>
            </a:r>
            <a:r>
              <a:rPr kumimoji="1" lang="zh-CN" altLang="en-US" sz="2000" dirty="0">
                <a:solidFill>
                  <a:srgbClr val="0070C0"/>
                </a:solidFill>
              </a:rPr>
              <a:t>迭代开发</a:t>
            </a:r>
            <a:r>
              <a:rPr kumimoji="1" lang="en-US" altLang="zh-CN" sz="2000" dirty="0">
                <a:solidFill>
                  <a:srgbClr val="0070C0"/>
                </a:solidFill>
              </a:rPr>
              <a:t>&amp;</a:t>
            </a:r>
            <a:r>
              <a:rPr kumimoji="1" lang="zh-CN" altLang="en-US" sz="2000" dirty="0">
                <a:solidFill>
                  <a:srgbClr val="0070C0"/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Show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Case-&gt;Retro</a:t>
            </a:r>
            <a:endParaRPr kumimoji="1" lang="zh-CN" alt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7" name="图片 76">
            <a:extLst>
              <a:ext uri="{FF2B5EF4-FFF2-40B4-BE49-F238E27FC236}">
                <a16:creationId xmlns:a16="http://schemas.microsoft.com/office/drawing/2014/main" id="{2B13756F-09CF-4141-9E7D-75440694A7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5083" y="1057655"/>
            <a:ext cx="7516043" cy="5613014"/>
          </a:xfrm>
          <a:prstGeom prst="rect">
            <a:avLst/>
          </a:prstGeom>
        </p:spPr>
      </p:pic>
      <p:sp>
        <p:nvSpPr>
          <p:cNvPr id="79" name="矩形 78">
            <a:extLst>
              <a:ext uri="{FF2B5EF4-FFF2-40B4-BE49-F238E27FC236}">
                <a16:creationId xmlns:a16="http://schemas.microsoft.com/office/drawing/2014/main" id="{1CE65303-D32A-044C-84D3-805D5828C73A}"/>
              </a:ext>
            </a:extLst>
          </p:cNvPr>
          <p:cNvSpPr/>
          <p:nvPr/>
        </p:nvSpPr>
        <p:spPr>
          <a:xfrm>
            <a:off x="280656" y="1057655"/>
            <a:ext cx="3992579" cy="494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使用看板，关注需求状态和流动，识别问题和风险</a:t>
            </a:r>
            <a:endParaRPr kumimoji="1" lang="en-US" altLang="zh-CN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规范各类型需求的流转状态，建议参考</a:t>
            </a: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6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icafe</a:t>
            </a: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前的系统字段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明确各状态间的流转规则，及时更新卡片状态，建议配置自动化流转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每个人负责的卡片数量、工时负载，识别资源瓶颈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单状态泳道的卡片数量和停留时长识别进度瓶颈和风险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燃尽图识别整体迭代进展的风险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987856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270149DB-0960-B146-BF16-276E4B196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计划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开发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&amp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</a:t>
            </a:r>
            <a:r>
              <a:rPr kumimoji="1" lang="en-US" altLang="zh-CN" sz="2000" dirty="0">
                <a:solidFill>
                  <a:srgbClr val="0070C0"/>
                </a:solidFill>
              </a:rPr>
              <a:t>Show</a:t>
            </a:r>
            <a:r>
              <a:rPr kumimoji="1" lang="zh-CN" altLang="en-US" sz="2000" dirty="0">
                <a:solidFill>
                  <a:srgbClr val="0070C0"/>
                </a:solidFill>
              </a:rPr>
              <a:t> </a:t>
            </a:r>
            <a:r>
              <a:rPr kumimoji="1" lang="en-US" altLang="zh-CN" sz="2000" dirty="0">
                <a:solidFill>
                  <a:srgbClr val="0070C0"/>
                </a:solidFill>
              </a:rPr>
              <a:t>Case-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&gt;Retro</a:t>
            </a:r>
            <a:endParaRPr kumimoji="1" lang="zh-CN" alt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BF6D1BE3-FB8C-BA4F-AC1D-77487AF4676A}"/>
              </a:ext>
            </a:extLst>
          </p:cNvPr>
          <p:cNvSpPr/>
          <p:nvPr/>
        </p:nvSpPr>
        <p:spPr>
          <a:xfrm>
            <a:off x="496186" y="1248039"/>
            <a:ext cx="5737655" cy="4706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时机：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迭代：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最后一天，全部迭代内容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测前：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核心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case 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跑通，单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story/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集成测试的增量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灰度</a:t>
            </a:r>
            <a:r>
              <a: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发版前：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全部版本增量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执行要点：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展现完成的完整功能增量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提前作准备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产出明确的接受或拒绝的结果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记录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bug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但不讨论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UG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原因细节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必要时可多轮执行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1" name="Picture 3" descr="C:\Users\liguanghua\Desktop\149E70AB361225504C4999E454A9BABF.JPG">
            <a:extLst>
              <a:ext uri="{FF2B5EF4-FFF2-40B4-BE49-F238E27FC236}">
                <a16:creationId xmlns:a16="http://schemas.microsoft.com/office/drawing/2014/main" id="{C0D19163-4EFB-5E41-85A0-185D03525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58943" y="1248039"/>
            <a:ext cx="4635376" cy="3155173"/>
          </a:xfrm>
          <a:prstGeom prst="rect">
            <a:avLst/>
          </a:prstGeom>
          <a:noFill/>
        </p:spPr>
      </p:pic>
      <p:graphicFrame>
        <p:nvGraphicFramePr>
          <p:cNvPr id="12" name="图示 11">
            <a:extLst>
              <a:ext uri="{FF2B5EF4-FFF2-40B4-BE49-F238E27FC236}">
                <a16:creationId xmlns:a16="http://schemas.microsoft.com/office/drawing/2014/main" id="{975590A0-9433-9844-9289-63CFA630DE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770420"/>
              </p:ext>
            </p:extLst>
          </p:nvPr>
        </p:nvGraphicFramePr>
        <p:xfrm>
          <a:off x="6758943" y="4452419"/>
          <a:ext cx="4738957" cy="20095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2366046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270149DB-0960-B146-BF16-276E4B196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计划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开发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&amp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Show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Case-&gt;</a:t>
            </a:r>
            <a:r>
              <a:rPr kumimoji="1" lang="en-US" altLang="zh-CN" sz="2000" dirty="0">
                <a:solidFill>
                  <a:srgbClr val="0070C0"/>
                </a:solidFill>
              </a:rPr>
              <a:t>Retro</a:t>
            </a:r>
            <a:endParaRPr kumimoji="1" lang="zh-CN" altLang="en-US" sz="2000" dirty="0">
              <a:solidFill>
                <a:srgbClr val="0070C0"/>
              </a:solidFill>
            </a:endParaRPr>
          </a:p>
        </p:txBody>
      </p:sp>
      <p:grpSp>
        <p:nvGrpSpPr>
          <p:cNvPr id="12" name="组合 5">
            <a:extLst>
              <a:ext uri="{FF2B5EF4-FFF2-40B4-BE49-F238E27FC236}">
                <a16:creationId xmlns:a16="http://schemas.microsoft.com/office/drawing/2014/main" id="{275A330F-8B80-BF4E-97E6-341D2FFFA570}"/>
              </a:ext>
            </a:extLst>
          </p:cNvPr>
          <p:cNvGrpSpPr/>
          <p:nvPr/>
        </p:nvGrpSpPr>
        <p:grpSpPr>
          <a:xfrm>
            <a:off x="5647624" y="2766084"/>
            <a:ext cx="1285896" cy="2119770"/>
            <a:chOff x="7806830" y="1978430"/>
            <a:chExt cx="984465" cy="1874895"/>
          </a:xfrm>
        </p:grpSpPr>
        <p:graphicFrame>
          <p:nvGraphicFramePr>
            <p:cNvPr id="13" name="图示 6">
              <a:extLst>
                <a:ext uri="{FF2B5EF4-FFF2-40B4-BE49-F238E27FC236}">
                  <a16:creationId xmlns:a16="http://schemas.microsoft.com/office/drawing/2014/main" id="{41584675-9862-3446-BE6A-4566B3C05A91}"/>
                </a:ext>
              </a:extLst>
            </p:cNvPr>
            <p:cNvGraphicFramePr/>
            <p:nvPr/>
          </p:nvGraphicFramePr>
          <p:xfrm>
            <a:off x="7806830" y="2481963"/>
            <a:ext cx="984465" cy="137136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4" name="文本框 23">
              <a:extLst>
                <a:ext uri="{FF2B5EF4-FFF2-40B4-BE49-F238E27FC236}">
                  <a16:creationId xmlns:a16="http://schemas.microsoft.com/office/drawing/2014/main" id="{7A45FA3D-677F-394E-AB8D-F0269E744AB7}"/>
                </a:ext>
              </a:extLst>
            </p:cNvPr>
            <p:cNvSpPr txBox="1"/>
            <p:nvPr/>
          </p:nvSpPr>
          <p:spPr>
            <a:xfrm>
              <a:off x="7907758" y="1978430"/>
              <a:ext cx="494822" cy="3266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rPr>
                <a:t>输出</a:t>
              </a:r>
            </a:p>
          </p:txBody>
        </p:sp>
      </p:grpSp>
      <p:cxnSp>
        <p:nvCxnSpPr>
          <p:cNvPr id="15" name="直接箭头连接符 8">
            <a:extLst>
              <a:ext uri="{FF2B5EF4-FFF2-40B4-BE49-F238E27FC236}">
                <a16:creationId xmlns:a16="http://schemas.microsoft.com/office/drawing/2014/main" id="{06F2CBEC-898F-FA4E-BD69-5F7F85C6FD85}"/>
              </a:ext>
            </a:extLst>
          </p:cNvPr>
          <p:cNvCxnSpPr/>
          <p:nvPr/>
        </p:nvCxnSpPr>
        <p:spPr>
          <a:xfrm flipV="1">
            <a:off x="5111165" y="3841642"/>
            <a:ext cx="424494" cy="2507"/>
          </a:xfrm>
          <a:prstGeom prst="straightConnector1">
            <a:avLst/>
          </a:prstGeom>
          <a:ln w="57150">
            <a:solidFill>
              <a:srgbClr val="B1AEF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9">
            <a:extLst>
              <a:ext uri="{FF2B5EF4-FFF2-40B4-BE49-F238E27FC236}">
                <a16:creationId xmlns:a16="http://schemas.microsoft.com/office/drawing/2014/main" id="{BDFC9D77-A120-344B-B993-0D376B10393C}"/>
              </a:ext>
            </a:extLst>
          </p:cNvPr>
          <p:cNvCxnSpPr/>
          <p:nvPr/>
        </p:nvCxnSpPr>
        <p:spPr>
          <a:xfrm flipV="1">
            <a:off x="2324773" y="3839136"/>
            <a:ext cx="424494" cy="2507"/>
          </a:xfrm>
          <a:prstGeom prst="straightConnector1">
            <a:avLst/>
          </a:prstGeom>
          <a:ln w="57150">
            <a:solidFill>
              <a:srgbClr val="B1AEF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组合 10">
            <a:extLst>
              <a:ext uri="{FF2B5EF4-FFF2-40B4-BE49-F238E27FC236}">
                <a16:creationId xmlns:a16="http://schemas.microsoft.com/office/drawing/2014/main" id="{E15345A7-9569-374C-B37F-AA68B47B296C}"/>
              </a:ext>
            </a:extLst>
          </p:cNvPr>
          <p:cNvGrpSpPr/>
          <p:nvPr/>
        </p:nvGrpSpPr>
        <p:grpSpPr>
          <a:xfrm>
            <a:off x="2850601" y="3014008"/>
            <a:ext cx="2159227" cy="3140653"/>
            <a:chOff x="4707659" y="2344185"/>
            <a:chExt cx="2392477" cy="2610200"/>
          </a:xfrm>
        </p:grpSpPr>
        <p:sp>
          <p:nvSpPr>
            <p:cNvPr id="18" name="圆角矩形 17">
              <a:extLst>
                <a:ext uri="{FF2B5EF4-FFF2-40B4-BE49-F238E27FC236}">
                  <a16:creationId xmlns:a16="http://schemas.microsoft.com/office/drawing/2014/main" id="{2B1B5EFA-EB8F-5442-91C5-17EF082E5CFE}"/>
                </a:ext>
              </a:extLst>
            </p:cNvPr>
            <p:cNvSpPr/>
            <p:nvPr/>
          </p:nvSpPr>
          <p:spPr>
            <a:xfrm>
              <a:off x="4707659" y="2344185"/>
              <a:ext cx="2392477" cy="2610200"/>
            </a:xfrm>
            <a:prstGeom prst="roundRect">
              <a:avLst/>
            </a:prstGeom>
            <a:noFill/>
            <a:ln>
              <a:solidFill>
                <a:srgbClr val="B1AE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endParaRPr>
            </a:p>
          </p:txBody>
        </p:sp>
        <p:sp>
          <p:nvSpPr>
            <p:cNvPr id="19" name="文本框 21">
              <a:extLst>
                <a:ext uri="{FF2B5EF4-FFF2-40B4-BE49-F238E27FC236}">
                  <a16:creationId xmlns:a16="http://schemas.microsoft.com/office/drawing/2014/main" id="{FFE18269-396C-0643-A6CF-50CF9E271264}"/>
                </a:ext>
              </a:extLst>
            </p:cNvPr>
            <p:cNvSpPr txBox="1"/>
            <p:nvPr/>
          </p:nvSpPr>
          <p:spPr>
            <a:xfrm>
              <a:off x="5356422" y="2382024"/>
              <a:ext cx="971918" cy="306952"/>
            </a:xfrm>
            <a:prstGeom prst="rect">
              <a:avLst/>
            </a:prstGeom>
            <a:noFill/>
            <a:ln>
              <a:solidFill>
                <a:srgbClr val="B1AEF6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rPr>
                <a:t>回顾会</a:t>
              </a:r>
            </a:p>
          </p:txBody>
        </p:sp>
      </p:grpSp>
      <p:grpSp>
        <p:nvGrpSpPr>
          <p:cNvPr id="20" name="组合 13">
            <a:extLst>
              <a:ext uri="{FF2B5EF4-FFF2-40B4-BE49-F238E27FC236}">
                <a16:creationId xmlns:a16="http://schemas.microsoft.com/office/drawing/2014/main" id="{A7B956B7-9F02-164A-A8A8-B472EDCC8ED0}"/>
              </a:ext>
            </a:extLst>
          </p:cNvPr>
          <p:cNvGrpSpPr/>
          <p:nvPr/>
        </p:nvGrpSpPr>
        <p:grpSpPr>
          <a:xfrm>
            <a:off x="1914724" y="1485970"/>
            <a:ext cx="3668408" cy="1120703"/>
            <a:chOff x="3463910" y="1043056"/>
            <a:chExt cx="4223657" cy="1377157"/>
          </a:xfrm>
        </p:grpSpPr>
        <p:grpSp>
          <p:nvGrpSpPr>
            <p:cNvPr id="21" name="组合 13">
              <a:extLst>
                <a:ext uri="{FF2B5EF4-FFF2-40B4-BE49-F238E27FC236}">
                  <a16:creationId xmlns:a16="http://schemas.microsoft.com/office/drawing/2014/main" id="{C18B76AA-F782-3049-9871-3F25AF85A1DA}"/>
                </a:ext>
              </a:extLst>
            </p:cNvPr>
            <p:cNvGrpSpPr/>
            <p:nvPr/>
          </p:nvGrpSpPr>
          <p:grpSpPr>
            <a:xfrm>
              <a:off x="3463910" y="1043056"/>
              <a:ext cx="2535775" cy="1377157"/>
              <a:chOff x="4389120" y="357139"/>
              <a:chExt cx="2809702" cy="1521537"/>
            </a:xfrm>
          </p:grpSpPr>
          <p:grpSp>
            <p:nvGrpSpPr>
              <p:cNvPr id="30" name="组合 26">
                <a:extLst>
                  <a:ext uri="{FF2B5EF4-FFF2-40B4-BE49-F238E27FC236}">
                    <a16:creationId xmlns:a16="http://schemas.microsoft.com/office/drawing/2014/main" id="{80FFC10C-931B-AB49-B8BA-9A1E0542CEC5}"/>
                  </a:ext>
                </a:extLst>
              </p:cNvPr>
              <p:cNvGrpSpPr/>
              <p:nvPr/>
            </p:nvGrpSpPr>
            <p:grpSpPr>
              <a:xfrm>
                <a:off x="4854858" y="766642"/>
                <a:ext cx="406400" cy="541867"/>
                <a:chOff x="2724469" y="4056214"/>
                <a:chExt cx="171091" cy="267725"/>
              </a:xfrm>
            </p:grpSpPr>
            <p:sp>
              <p:nvSpPr>
                <p:cNvPr id="39" name="AutoShape 20">
                  <a:extLst>
                    <a:ext uri="{FF2B5EF4-FFF2-40B4-BE49-F238E27FC236}">
                      <a16:creationId xmlns:a16="http://schemas.microsoft.com/office/drawing/2014/main" id="{FAF14318-AC65-F748-BB93-764A145D7D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4469" y="4139541"/>
                  <a:ext cx="171091" cy="184398"/>
                </a:xfrm>
                <a:prstGeom prst="pentagon">
                  <a:avLst/>
                </a:prstGeom>
                <a:solidFill>
                  <a:schemeClr val="accent1">
                    <a:lumMod val="75000"/>
                  </a:schemeClr>
                </a:solidFill>
                <a:ln w="12700" cap="flat">
                  <a:solidFill>
                    <a:schemeClr val="accent5">
                      <a:lumMod val="75000"/>
                    </a:schemeClr>
                  </a:solidFill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endParaRPr>
                </a:p>
              </p:txBody>
            </p:sp>
            <p:sp>
              <p:nvSpPr>
                <p:cNvPr id="40" name="Oval 21">
                  <a:extLst>
                    <a:ext uri="{FF2B5EF4-FFF2-40B4-BE49-F238E27FC236}">
                      <a16:creationId xmlns:a16="http://schemas.microsoft.com/office/drawing/2014/main" id="{3AC2D9F1-1C8B-9644-8A69-5B709B4881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6972" y="4056214"/>
                  <a:ext cx="151223" cy="120902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endParaRPr>
                </a:p>
              </p:txBody>
            </p:sp>
          </p:grpSp>
          <p:grpSp>
            <p:nvGrpSpPr>
              <p:cNvPr id="31" name="组合 27">
                <a:extLst>
                  <a:ext uri="{FF2B5EF4-FFF2-40B4-BE49-F238E27FC236}">
                    <a16:creationId xmlns:a16="http://schemas.microsoft.com/office/drawing/2014/main" id="{9A740E59-2491-B444-876A-7C852BA23627}"/>
                  </a:ext>
                </a:extLst>
              </p:cNvPr>
              <p:cNvGrpSpPr/>
              <p:nvPr/>
            </p:nvGrpSpPr>
            <p:grpSpPr>
              <a:xfrm>
                <a:off x="4603145" y="1037576"/>
                <a:ext cx="406400" cy="541867"/>
                <a:chOff x="2724469" y="4056214"/>
                <a:chExt cx="171091" cy="267725"/>
              </a:xfrm>
            </p:grpSpPr>
            <p:sp>
              <p:nvSpPr>
                <p:cNvPr id="37" name="AutoShape 20">
                  <a:extLst>
                    <a:ext uri="{FF2B5EF4-FFF2-40B4-BE49-F238E27FC236}">
                      <a16:creationId xmlns:a16="http://schemas.microsoft.com/office/drawing/2014/main" id="{4C83FFE2-D2F0-BD43-BDD9-B47609C5D0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4469" y="4139541"/>
                  <a:ext cx="171091" cy="184398"/>
                </a:xfrm>
                <a:prstGeom prst="pentagon">
                  <a:avLst/>
                </a:prstGeom>
                <a:solidFill>
                  <a:srgbClr val="8B8D31"/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endParaRPr>
                </a:p>
              </p:txBody>
            </p:sp>
            <p:sp>
              <p:nvSpPr>
                <p:cNvPr id="38" name="Oval 21">
                  <a:extLst>
                    <a:ext uri="{FF2B5EF4-FFF2-40B4-BE49-F238E27FC236}">
                      <a16:creationId xmlns:a16="http://schemas.microsoft.com/office/drawing/2014/main" id="{2AD1F5A3-C93C-B140-82C2-7E67D8E153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6972" y="4056214"/>
                  <a:ext cx="151223" cy="120902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endParaRPr>
                </a:p>
              </p:txBody>
            </p:sp>
          </p:grpSp>
          <p:grpSp>
            <p:nvGrpSpPr>
              <p:cNvPr id="32" name="组合 28">
                <a:extLst>
                  <a:ext uri="{FF2B5EF4-FFF2-40B4-BE49-F238E27FC236}">
                    <a16:creationId xmlns:a16="http://schemas.microsoft.com/office/drawing/2014/main" id="{BAB57354-E23C-CA4A-9A68-283B63EEBD3C}"/>
                  </a:ext>
                </a:extLst>
              </p:cNvPr>
              <p:cNvGrpSpPr/>
              <p:nvPr/>
            </p:nvGrpSpPr>
            <p:grpSpPr>
              <a:xfrm>
                <a:off x="5021750" y="1037576"/>
                <a:ext cx="406400" cy="541867"/>
                <a:chOff x="2724469" y="4056214"/>
                <a:chExt cx="171091" cy="267725"/>
              </a:xfrm>
            </p:grpSpPr>
            <p:sp>
              <p:nvSpPr>
                <p:cNvPr id="35" name="AutoShape 20">
                  <a:extLst>
                    <a:ext uri="{FF2B5EF4-FFF2-40B4-BE49-F238E27FC236}">
                      <a16:creationId xmlns:a16="http://schemas.microsoft.com/office/drawing/2014/main" id="{9CE41440-8DBF-C849-9217-43704AC1C8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4469" y="4139541"/>
                  <a:ext cx="171091" cy="184398"/>
                </a:xfrm>
                <a:prstGeom prst="pentagon">
                  <a:avLst/>
                </a:prstGeom>
                <a:solidFill>
                  <a:srgbClr val="FF0000"/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endParaRPr>
                </a:p>
              </p:txBody>
            </p:sp>
            <p:sp>
              <p:nvSpPr>
                <p:cNvPr id="36" name="Oval 21">
                  <a:extLst>
                    <a:ext uri="{FF2B5EF4-FFF2-40B4-BE49-F238E27FC236}">
                      <a16:creationId xmlns:a16="http://schemas.microsoft.com/office/drawing/2014/main" id="{33AC3E2C-7110-C542-8905-58E04968F6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6972" y="4056214"/>
                  <a:ext cx="151223" cy="120902"/>
                </a:xfrm>
                <a:prstGeom prst="ellipse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endParaRPr>
                </a:p>
              </p:txBody>
            </p:sp>
          </p:grpSp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97D900DF-149B-F546-91C2-E18D5E73A471}"/>
                  </a:ext>
                </a:extLst>
              </p:cNvPr>
              <p:cNvSpPr/>
              <p:nvPr/>
            </p:nvSpPr>
            <p:spPr>
              <a:xfrm>
                <a:off x="4389120" y="496531"/>
                <a:ext cx="2809702" cy="1382145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endParaRPr>
              </a:p>
            </p:txBody>
          </p:sp>
          <p:sp>
            <p:nvSpPr>
              <p:cNvPr id="34" name="文本框 30">
                <a:extLst>
                  <a:ext uri="{FF2B5EF4-FFF2-40B4-BE49-F238E27FC236}">
                    <a16:creationId xmlns:a16="http://schemas.microsoft.com/office/drawing/2014/main" id="{5DD6C151-705E-F946-B232-574093896C19}"/>
                  </a:ext>
                </a:extLst>
              </p:cNvPr>
              <p:cNvSpPr txBox="1"/>
              <p:nvPr/>
            </p:nvSpPr>
            <p:spPr>
              <a:xfrm>
                <a:off x="5438292" y="357139"/>
                <a:ext cx="1575719" cy="14416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b="1" dirty="0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rPr>
                  <a:t>团队</a:t>
                </a:r>
                <a:endParaRPr lang="en-US" altLang="zh-CN" b="1" dirty="0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endParaRPr>
              </a:p>
              <a:p>
                <a:r>
                  <a:rPr lang="en-US" altLang="zh-CN" sz="1200" dirty="0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rPr>
                  <a:t>PO</a:t>
                </a:r>
              </a:p>
              <a:p>
                <a:r>
                  <a:rPr lang="en-US" altLang="zh-CN" sz="1200" dirty="0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rPr>
                  <a:t>Team member</a:t>
                </a:r>
              </a:p>
              <a:p>
                <a:r>
                  <a:rPr lang="en-US" altLang="zh-CN" sz="1200" dirty="0">
                    <a:latin typeface="Microsoft YaHei" panose="020B0503020204020204" pitchFamily="34" charset="-122"/>
                    <a:ea typeface="Microsoft YaHei" panose="020B0503020204020204" pitchFamily="34" charset="-122"/>
                    <a:cs typeface="Microsoft YaHei" charset="-122"/>
                  </a:rPr>
                  <a:t>Scrum Master</a:t>
                </a:r>
                <a:endParaRPr lang="zh-CN" altLang="en-US" sz="1200" dirty="0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endParaRPr>
              </a:p>
            </p:txBody>
          </p:sp>
        </p:grpSp>
        <p:grpSp>
          <p:nvGrpSpPr>
            <p:cNvPr id="22" name="组合 40">
              <a:extLst>
                <a:ext uri="{FF2B5EF4-FFF2-40B4-BE49-F238E27FC236}">
                  <a16:creationId xmlns:a16="http://schemas.microsoft.com/office/drawing/2014/main" id="{B0F422EF-9040-E648-AA4E-4E6C00FA3E78}"/>
                </a:ext>
              </a:extLst>
            </p:cNvPr>
            <p:cNvGrpSpPr/>
            <p:nvPr/>
          </p:nvGrpSpPr>
          <p:grpSpPr>
            <a:xfrm>
              <a:off x="6703211" y="1650200"/>
              <a:ext cx="379711" cy="418436"/>
              <a:chOff x="2724469" y="4056214"/>
              <a:chExt cx="171091" cy="267725"/>
            </a:xfrm>
          </p:grpSpPr>
          <p:sp>
            <p:nvSpPr>
              <p:cNvPr id="28" name="AutoShape 20">
                <a:extLst>
                  <a:ext uri="{FF2B5EF4-FFF2-40B4-BE49-F238E27FC236}">
                    <a16:creationId xmlns:a16="http://schemas.microsoft.com/office/drawing/2014/main" id="{DA21ED65-8FFC-9F49-AB41-A20B7DF870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4469" y="4139541"/>
                <a:ext cx="171091" cy="184398"/>
              </a:xfrm>
              <a:prstGeom prst="pentagon">
                <a:avLst/>
              </a:prstGeom>
              <a:solidFill>
                <a:srgbClr val="FFC000"/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endParaRPr>
              </a:p>
            </p:txBody>
          </p:sp>
          <p:sp>
            <p:nvSpPr>
              <p:cNvPr id="29" name="Oval 21">
                <a:extLst>
                  <a:ext uri="{FF2B5EF4-FFF2-40B4-BE49-F238E27FC236}">
                    <a16:creationId xmlns:a16="http://schemas.microsoft.com/office/drawing/2014/main" id="{5A88FB45-19CC-234D-B2E4-BBAD5D74D9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6972" y="4056214"/>
                <a:ext cx="151223" cy="120902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endParaRPr>
              </a:p>
            </p:txBody>
          </p:sp>
        </p:grp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D44D0DF1-5BC2-884E-9105-B2DB6C9F70FE}"/>
                </a:ext>
              </a:extLst>
            </p:cNvPr>
            <p:cNvSpPr/>
            <p:nvPr/>
          </p:nvSpPr>
          <p:spPr>
            <a:xfrm>
              <a:off x="6175828" y="1105985"/>
              <a:ext cx="1511739" cy="1252954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endParaRPr>
            </a:p>
          </p:txBody>
        </p:sp>
        <p:sp>
          <p:nvSpPr>
            <p:cNvPr id="24" name="文本框 42">
              <a:extLst>
                <a:ext uri="{FF2B5EF4-FFF2-40B4-BE49-F238E27FC236}">
                  <a16:creationId xmlns:a16="http://schemas.microsoft.com/office/drawing/2014/main" id="{947E034F-7603-6246-97D7-2A1DCE2663F2}"/>
                </a:ext>
              </a:extLst>
            </p:cNvPr>
            <p:cNvSpPr txBox="1"/>
            <p:nvPr/>
          </p:nvSpPr>
          <p:spPr>
            <a:xfrm>
              <a:off x="6547779" y="1100318"/>
              <a:ext cx="1009930" cy="5639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rPr>
                <a:t>其他人</a:t>
              </a:r>
              <a:endPara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endParaRPr>
            </a:p>
          </p:txBody>
        </p:sp>
        <p:grpSp>
          <p:nvGrpSpPr>
            <p:cNvPr id="25" name="组合 1">
              <a:extLst>
                <a:ext uri="{FF2B5EF4-FFF2-40B4-BE49-F238E27FC236}">
                  <a16:creationId xmlns:a16="http://schemas.microsoft.com/office/drawing/2014/main" id="{DFA7E7BE-2606-104F-9A0B-9E5D39D4836B}"/>
                </a:ext>
              </a:extLst>
            </p:cNvPr>
            <p:cNvGrpSpPr/>
            <p:nvPr/>
          </p:nvGrpSpPr>
          <p:grpSpPr>
            <a:xfrm>
              <a:off x="6431927" y="1633774"/>
              <a:ext cx="366779" cy="490449"/>
              <a:chOff x="6799431" y="1849668"/>
              <a:chExt cx="366779" cy="490449"/>
            </a:xfrm>
          </p:grpSpPr>
          <p:sp>
            <p:nvSpPr>
              <p:cNvPr id="26" name="AutoShape 20">
                <a:extLst>
                  <a:ext uri="{FF2B5EF4-FFF2-40B4-BE49-F238E27FC236}">
                    <a16:creationId xmlns:a16="http://schemas.microsoft.com/office/drawing/2014/main" id="{73A50FEA-C402-DD45-945D-5E899FCB6C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9431" y="2002316"/>
                <a:ext cx="366779" cy="337801"/>
              </a:xfrm>
              <a:prstGeom prst="pentagon">
                <a:avLst/>
              </a:prstGeom>
              <a:solidFill>
                <a:srgbClr val="FFC000"/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endParaRPr>
              </a:p>
            </p:txBody>
          </p:sp>
          <p:sp>
            <p:nvSpPr>
              <p:cNvPr id="27" name="Oval 21">
                <a:extLst>
                  <a:ext uri="{FF2B5EF4-FFF2-40B4-BE49-F238E27FC236}">
                    <a16:creationId xmlns:a16="http://schemas.microsoft.com/office/drawing/2014/main" id="{1739CAFC-A0BA-C943-9918-34017EEE0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235" y="1849668"/>
                <a:ext cx="324187" cy="221482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endParaRPr>
              </a:p>
            </p:txBody>
          </p:sp>
        </p:grpSp>
      </p:grpSp>
      <p:grpSp>
        <p:nvGrpSpPr>
          <p:cNvPr id="41" name="组合 34">
            <a:extLst>
              <a:ext uri="{FF2B5EF4-FFF2-40B4-BE49-F238E27FC236}">
                <a16:creationId xmlns:a16="http://schemas.microsoft.com/office/drawing/2014/main" id="{2DF569BC-7CA7-2D41-8D52-0CDEDD28E206}"/>
              </a:ext>
            </a:extLst>
          </p:cNvPr>
          <p:cNvGrpSpPr/>
          <p:nvPr/>
        </p:nvGrpSpPr>
        <p:grpSpPr>
          <a:xfrm>
            <a:off x="915817" y="2803666"/>
            <a:ext cx="1205897" cy="2082187"/>
            <a:chOff x="7806830" y="1978430"/>
            <a:chExt cx="984465" cy="1874895"/>
          </a:xfrm>
        </p:grpSpPr>
        <p:graphicFrame>
          <p:nvGraphicFramePr>
            <p:cNvPr id="42" name="图示 35">
              <a:extLst>
                <a:ext uri="{FF2B5EF4-FFF2-40B4-BE49-F238E27FC236}">
                  <a16:creationId xmlns:a16="http://schemas.microsoft.com/office/drawing/2014/main" id="{BD55B2BE-B1D8-A942-A031-62620EE49F06}"/>
                </a:ext>
              </a:extLst>
            </p:cNvPr>
            <p:cNvGraphicFramePr/>
            <p:nvPr/>
          </p:nvGraphicFramePr>
          <p:xfrm>
            <a:off x="7806830" y="2481963"/>
            <a:ext cx="984465" cy="137136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sp>
          <p:nvSpPr>
            <p:cNvPr id="43" name="文本框 53">
              <a:extLst>
                <a:ext uri="{FF2B5EF4-FFF2-40B4-BE49-F238E27FC236}">
                  <a16:creationId xmlns:a16="http://schemas.microsoft.com/office/drawing/2014/main" id="{7B8DF8BF-DF10-464D-8186-191DBA114300}"/>
                </a:ext>
              </a:extLst>
            </p:cNvPr>
            <p:cNvSpPr txBox="1"/>
            <p:nvPr/>
          </p:nvSpPr>
          <p:spPr>
            <a:xfrm>
              <a:off x="7907758" y="1978430"/>
              <a:ext cx="527649" cy="3325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  <a:cs typeface="Microsoft YaHei" charset="-122"/>
                </a:rPr>
                <a:t>输入</a:t>
              </a:r>
            </a:p>
          </p:txBody>
        </p:sp>
      </p:grpSp>
      <p:pic>
        <p:nvPicPr>
          <p:cNvPr id="44" name="图片 43">
            <a:extLst>
              <a:ext uri="{FF2B5EF4-FFF2-40B4-BE49-F238E27FC236}">
                <a16:creationId xmlns:a16="http://schemas.microsoft.com/office/drawing/2014/main" id="{CCA5AC55-7B63-A949-B39B-4A8C7BED4FEF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7220271" y="1911817"/>
            <a:ext cx="1244873" cy="4242844"/>
          </a:xfrm>
          <a:prstGeom prst="rect">
            <a:avLst/>
          </a:prstGeom>
        </p:spPr>
      </p:pic>
      <p:pic>
        <p:nvPicPr>
          <p:cNvPr id="45" name="图片 44">
            <a:extLst>
              <a:ext uri="{FF2B5EF4-FFF2-40B4-BE49-F238E27FC236}">
                <a16:creationId xmlns:a16="http://schemas.microsoft.com/office/drawing/2014/main" id="{524DB8A6-BE2E-A14E-99CC-70E3E25D0A5E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478154" y="3459646"/>
            <a:ext cx="833887" cy="2567834"/>
          </a:xfrm>
          <a:prstGeom prst="rect">
            <a:avLst/>
          </a:prstGeom>
        </p:spPr>
      </p:pic>
      <p:sp>
        <p:nvSpPr>
          <p:cNvPr id="46" name="线形标注 2 45">
            <a:extLst>
              <a:ext uri="{FF2B5EF4-FFF2-40B4-BE49-F238E27FC236}">
                <a16:creationId xmlns:a16="http://schemas.microsoft.com/office/drawing/2014/main" id="{A9CC2BD5-9CFD-E743-A1AE-C3EE7396FFC5}"/>
              </a:ext>
            </a:extLst>
          </p:cNvPr>
          <p:cNvSpPr/>
          <p:nvPr/>
        </p:nvSpPr>
        <p:spPr>
          <a:xfrm>
            <a:off x="8949693" y="2123415"/>
            <a:ext cx="3118786" cy="2048536"/>
          </a:xfrm>
          <a:prstGeom prst="borderCallout2">
            <a:avLst>
              <a:gd name="adj1" fmla="val 10590"/>
              <a:gd name="adj2" fmla="val -3908"/>
              <a:gd name="adj3" fmla="val 10046"/>
              <a:gd name="adj4" fmla="val -13355"/>
              <a:gd name="adj5" fmla="val 4314"/>
              <a:gd name="adj6" fmla="val -21146"/>
            </a:avLst>
          </a:prstGeom>
          <a:noFill/>
          <a:ln>
            <a:solidFill>
              <a:srgbClr val="B1A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1</a:t>
            </a:r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、上一迭代回顾时的</a:t>
            </a:r>
            <a:r>
              <a: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TOP N</a:t>
            </a:r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解决问题的实际状态；</a:t>
            </a:r>
            <a:endParaRPr lang="en-US" altLang="zh-CN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2</a:t>
            </a:r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、本迭代的流程度量数据；</a:t>
            </a:r>
            <a:endParaRPr lang="en-US" altLang="zh-CN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icrosoft YaHei" charset="-122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3</a:t>
            </a:r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charset="-122"/>
              </a:rPr>
              <a:t>、本迭代的产品质量数据；</a:t>
            </a:r>
          </a:p>
        </p:txBody>
      </p:sp>
      <p:sp>
        <p:nvSpPr>
          <p:cNvPr id="47" name="标题 1">
            <a:extLst>
              <a:ext uri="{FF2B5EF4-FFF2-40B4-BE49-F238E27FC236}">
                <a16:creationId xmlns:a16="http://schemas.microsoft.com/office/drawing/2014/main" id="{B5E4A194-E2E9-C74D-AEAD-07B830A99179}"/>
              </a:ext>
            </a:extLst>
          </p:cNvPr>
          <p:cNvSpPr txBox="1">
            <a:spLocks/>
          </p:cNvSpPr>
          <p:nvPr/>
        </p:nvSpPr>
        <p:spPr>
          <a:xfrm>
            <a:off x="431268" y="836250"/>
            <a:ext cx="10128450" cy="1325563"/>
          </a:xfrm>
          <a:prstGeom prst="rect">
            <a:avLst/>
          </a:prstGeom>
        </p:spPr>
        <p:txBody>
          <a:bodyPr vert="horz" lIns="91352" tIns="45677" rIns="91352" bIns="45677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zh-CN" altLang="en-US" sz="2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回顾会</a:t>
            </a:r>
          </a:p>
        </p:txBody>
      </p:sp>
    </p:spTree>
    <p:extLst>
      <p:ext uri="{BB962C8B-B14F-4D97-AF65-F5344CB8AC3E}">
        <p14:creationId xmlns:p14="http://schemas.microsoft.com/office/powerpoint/2010/main" val="6149506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270149DB-0960-B146-BF16-276E4B196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79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3.3</a:t>
            </a:r>
            <a:r>
              <a:rPr kumimoji="1" lang="zh-CN" altLang="en-US" dirty="0"/>
              <a:t> 双周迭代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计划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迭代开发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&amp;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测试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-&gt;Show</a:t>
            </a:r>
            <a:r>
              <a:rPr kumimoji="1" lang="zh-CN" alt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zh-CN" sz="2000" dirty="0">
                <a:solidFill>
                  <a:schemeClr val="bg1">
                    <a:lumMod val="50000"/>
                  </a:schemeClr>
                </a:solidFill>
              </a:rPr>
              <a:t>Case-&gt;</a:t>
            </a:r>
            <a:r>
              <a:rPr kumimoji="1" lang="en-US" altLang="zh-CN" sz="2000" dirty="0">
                <a:solidFill>
                  <a:srgbClr val="0070C0"/>
                </a:solidFill>
              </a:rPr>
              <a:t>Retro</a:t>
            </a:r>
            <a:endParaRPr kumimoji="1" lang="zh-CN" altLang="en-US" sz="2000" dirty="0">
              <a:solidFill>
                <a:srgbClr val="0070C0"/>
              </a:solidFill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820EBEDC-83EA-8E4C-AF8C-8D9E6D674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0930" y="1737630"/>
            <a:ext cx="5829153" cy="408918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89BD8A7-F4FB-FC43-A1A5-D9D0440D29B1}"/>
              </a:ext>
            </a:extLst>
          </p:cNvPr>
          <p:cNvSpPr txBox="1"/>
          <p:nvPr/>
        </p:nvSpPr>
        <p:spPr>
          <a:xfrm>
            <a:off x="162962" y="1031720"/>
            <a:ext cx="4958365" cy="5075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accent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时机：</a:t>
            </a:r>
            <a:endParaRPr lang="en-US" altLang="zh-CN" b="1" dirty="0">
              <a:solidFill>
                <a:schemeClr val="accent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迭代回顾：迭代周期的最后一天</a:t>
            </a:r>
            <a:endParaRPr lang="en-US" altLang="zh-CN" sz="1600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小项目复盘：项目结束</a:t>
            </a:r>
            <a:endParaRPr lang="en-US" altLang="zh-CN" sz="1600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大项目复盘：阶段结束、项目结束</a:t>
            </a:r>
            <a:endParaRPr lang="en-US" altLang="zh-CN" sz="1600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accent1"/>
                </a:solidFill>
                <a:latin typeface="Microsoft YaHei" charset="-122"/>
                <a:ea typeface="Microsoft YaHei" charset="-122"/>
                <a:cs typeface="Microsoft YaHei" charset="-122"/>
              </a:rPr>
              <a:t>执行要点：</a:t>
            </a:r>
            <a:endParaRPr lang="en-US" altLang="zh-CN" b="1" dirty="0">
              <a:solidFill>
                <a:schemeClr val="accent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Microsoft YaHei" charset="-122"/>
                <a:ea typeface="Microsoft YaHei" charset="-122"/>
                <a:cs typeface="Microsoft YaHei" charset="-122"/>
              </a:rPr>
              <a:t>迭代回顾：</a:t>
            </a: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做的好的地方、需要改进的地方、下一步</a:t>
            </a:r>
            <a:r>
              <a:rPr lang="en-US" altLang="zh-CN" sz="1600" dirty="0">
                <a:latin typeface="Microsoft YaHei" charset="-122"/>
                <a:ea typeface="Microsoft YaHei" charset="-122"/>
                <a:cs typeface="Microsoft YaHei" charset="-122"/>
              </a:rPr>
              <a:t> to</a:t>
            </a: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lang="en-US" altLang="zh-CN" sz="1600" dirty="0">
                <a:latin typeface="Microsoft YaHei" charset="-122"/>
                <a:ea typeface="Microsoft YaHei" charset="-122"/>
                <a:cs typeface="Microsoft YaHei" charset="-122"/>
              </a:rPr>
              <a:t>do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Microsoft YaHei" charset="-122"/>
                <a:ea typeface="Microsoft YaHei" charset="-122"/>
                <a:cs typeface="Microsoft YaHei" charset="-122"/>
              </a:rPr>
              <a:t>项目复盘：</a:t>
            </a: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回顾目标</a:t>
            </a:r>
            <a:r>
              <a:rPr lang="en-US" altLang="zh-CN" sz="1600" dirty="0">
                <a:latin typeface="Microsoft YaHei" charset="-122"/>
                <a:ea typeface="Microsoft YaHei" charset="-122"/>
                <a:cs typeface="Microsoft YaHei" charset="-122"/>
              </a:rPr>
              <a:t>-&gt;</a:t>
            </a: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分析结果</a:t>
            </a:r>
            <a:r>
              <a:rPr lang="en-US" altLang="zh-CN" sz="1600" dirty="0">
                <a:latin typeface="Microsoft YaHei" charset="-122"/>
                <a:ea typeface="Microsoft YaHei" charset="-122"/>
                <a:cs typeface="Microsoft YaHei" charset="-122"/>
              </a:rPr>
              <a:t>-&gt;</a:t>
            </a: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评估结果</a:t>
            </a:r>
            <a:r>
              <a:rPr lang="en-US" altLang="zh-CN" sz="1600" dirty="0">
                <a:latin typeface="Microsoft YaHei" charset="-122"/>
                <a:ea typeface="Microsoft YaHei" charset="-122"/>
                <a:cs typeface="Microsoft YaHei" charset="-122"/>
              </a:rPr>
              <a:t>-&gt;</a:t>
            </a: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总结规律</a:t>
            </a:r>
            <a:endParaRPr lang="en-US" altLang="zh-CN" sz="1600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当问题过多时，选择高优 </a:t>
            </a:r>
            <a:r>
              <a:rPr lang="en-US" altLang="zh-CN" sz="1600" dirty="0">
                <a:latin typeface="Microsoft YaHei" charset="-122"/>
                <a:ea typeface="Microsoft YaHei" charset="-122"/>
                <a:cs typeface="Microsoft YaHei" charset="-122"/>
              </a:rPr>
              <a:t>TOP3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要形成明确的</a:t>
            </a:r>
            <a:r>
              <a:rPr lang="en-US" altLang="zh-CN" sz="1600" dirty="0">
                <a:latin typeface="Microsoft YaHei" charset="-122"/>
                <a:ea typeface="Microsoft YaHei" charset="-122"/>
                <a:cs typeface="Microsoft YaHei" charset="-122"/>
              </a:rPr>
              <a:t>Action</a:t>
            </a: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，确定跟进者和完成时间，确保闭环</a:t>
            </a:r>
            <a:endParaRPr lang="en-US" altLang="zh-CN" sz="1600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charset="-122"/>
                <a:ea typeface="Microsoft YaHei" charset="-122"/>
                <a:cs typeface="Microsoft YaHei" charset="-122"/>
              </a:rPr>
              <a:t>常见问题：需求澄清不够、不断变更等</a:t>
            </a:r>
            <a:endParaRPr lang="en-US" altLang="zh-CN" sz="1600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842781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3.4</a:t>
            </a:r>
            <a:r>
              <a:rPr kumimoji="1" lang="zh-CN" altLang="en-US" dirty="0"/>
              <a:t> 常见问题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accent1"/>
                </a:solidFill>
              </a:rPr>
              <a:t>需求有效性：多轮需求澄清和验证，确保核心需求收益达成</a:t>
            </a:r>
            <a:endParaRPr kumimoji="1" lang="zh-CN" altLang="en-US" sz="20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C01B1C9-6A35-0D43-8456-3C7964FBE956}"/>
              </a:ext>
            </a:extLst>
          </p:cNvPr>
          <p:cNvSpPr txBox="1"/>
          <p:nvPr/>
        </p:nvSpPr>
        <p:spPr>
          <a:xfrm>
            <a:off x="327887" y="997613"/>
            <a:ext cx="5412135" cy="5681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需求收集和发布时：</a:t>
            </a:r>
            <a:endParaRPr kumimoji="1" lang="en-US" altLang="zh-CN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识别核心必保需求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需求应明确收益，建议有量化指标，并和打点需求结对提交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角色接口人参加需求评审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统一发布，</a:t>
            </a: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M</a:t>
            </a: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澄清需求细节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开发过程中： </a:t>
            </a:r>
            <a:endParaRPr kumimoji="1" lang="en-US" altLang="zh-CN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D </a:t>
            </a: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求反串讲，确保需求理解正确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设计文档</a:t>
            </a: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接口文档的评审，确保设计覆盖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基于设计文档和接口文档的联调，确保开发功能与设计一致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核心测试 </a:t>
            </a: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se</a:t>
            </a: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评审确保覆盖核心需求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产品</a:t>
            </a: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how</a:t>
            </a: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se</a:t>
            </a: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尽早发现需求不一致问题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用户手册文档的评审和试用，确保全面覆盖需求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C51ACB16-BD06-C743-9EBA-9B17E45FE2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7196" y="3563484"/>
            <a:ext cx="5761652" cy="3017620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52" name="矩形 51">
            <a:extLst>
              <a:ext uri="{FF2B5EF4-FFF2-40B4-BE49-F238E27FC236}">
                <a16:creationId xmlns:a16="http://schemas.microsoft.com/office/drawing/2014/main" id="{739E045A-B38F-174C-9B1C-CA911998C53D}"/>
              </a:ext>
            </a:extLst>
          </p:cNvPr>
          <p:cNvSpPr/>
          <p:nvPr/>
        </p:nvSpPr>
        <p:spPr>
          <a:xfrm>
            <a:off x="5740022" y="997613"/>
            <a:ext cx="6096000" cy="157229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需求上线后：</a:t>
            </a:r>
            <a:endParaRPr kumimoji="1" lang="en-US" altLang="zh-CN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持续监控线上数据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核心需求的收益进行评估分析，确保闭环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未达预期需求评估后下线</a:t>
            </a:r>
            <a:endParaRPr kumimoji="1"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8F2DBCCC-46BB-754E-8D32-0E0BED9CC76D}"/>
              </a:ext>
            </a:extLst>
          </p:cNvPr>
          <p:cNvSpPr/>
          <p:nvPr/>
        </p:nvSpPr>
        <p:spPr>
          <a:xfrm>
            <a:off x="5907196" y="3104576"/>
            <a:ext cx="3012363" cy="4589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需求收益闭环评估示例：</a:t>
            </a:r>
            <a:endParaRPr kumimoji="1" lang="en-US" altLang="zh-CN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877988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3.4</a:t>
            </a:r>
            <a:r>
              <a:rPr kumimoji="1" lang="zh-CN" altLang="en-US" dirty="0"/>
              <a:t> 常见问题</a:t>
            </a:r>
            <a:r>
              <a:rPr kumimoji="1" lang="en-US" altLang="zh-CN" dirty="0">
                <a:solidFill>
                  <a:schemeClr val="accent1"/>
                </a:solidFill>
              </a:rPr>
              <a:t>|</a:t>
            </a:r>
            <a:r>
              <a:rPr kumimoji="1" lang="zh-CN" altLang="en-US" dirty="0">
                <a:solidFill>
                  <a:schemeClr val="accent1"/>
                </a:solidFill>
              </a:rPr>
              <a:t> </a:t>
            </a:r>
            <a:r>
              <a:rPr kumimoji="1" lang="zh-CN" altLang="en-US" sz="2000" dirty="0">
                <a:solidFill>
                  <a:schemeClr val="accent1"/>
                </a:solidFill>
              </a:rPr>
              <a:t>需求变更：分析变更的原因，预防不必要的变更，合理应对必要的变更</a:t>
            </a:r>
            <a:endParaRPr kumimoji="1" lang="zh-CN" altLang="en-US" sz="2000" dirty="0"/>
          </a:p>
        </p:txBody>
      </p:sp>
      <p:graphicFrame>
        <p:nvGraphicFramePr>
          <p:cNvPr id="3" name="内容占位符 3">
            <a:extLst>
              <a:ext uri="{FF2B5EF4-FFF2-40B4-BE49-F238E27FC236}">
                <a16:creationId xmlns:a16="http://schemas.microsoft.com/office/drawing/2014/main" id="{C78529D1-2721-3047-B067-A05A2EAEBA6A}"/>
              </a:ext>
            </a:extLst>
          </p:cNvPr>
          <p:cNvGraphicFramePr>
            <a:graphicFrameLocks/>
          </p:cNvGraphicFramePr>
          <p:nvPr/>
        </p:nvGraphicFramePr>
        <p:xfrm>
          <a:off x="4171308" y="1354147"/>
          <a:ext cx="7957192" cy="1707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文本框 8">
            <a:extLst>
              <a:ext uri="{FF2B5EF4-FFF2-40B4-BE49-F238E27FC236}">
                <a16:creationId xmlns:a16="http://schemas.microsoft.com/office/drawing/2014/main" id="{64118C25-DD50-F744-B36F-602AB569D523}"/>
              </a:ext>
            </a:extLst>
          </p:cNvPr>
          <p:cNvSpPr txBox="1"/>
          <p:nvPr/>
        </p:nvSpPr>
        <p:spPr>
          <a:xfrm>
            <a:off x="203745" y="1039760"/>
            <a:ext cx="3741532" cy="5548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回顾以往的需求变更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case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zh-CN" altLang="en-US" sz="1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总结引起变更的原因</a:t>
            </a:r>
            <a:endParaRPr kumimoji="1" lang="en-US" altLang="zh-CN" sz="14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根据变更的原因，将变更的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case 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为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『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提前规避的变更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』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『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无法避免的变更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』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『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提前规避的变更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』</a:t>
            </a:r>
            <a:r>
              <a:rPr kumimoji="1" lang="zh-CN" altLang="en-US" sz="14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CN" altLang="en-US" sz="1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制定改进措施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并进行改进，常见措施有：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做好需求澄清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做好技术调研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建立需求跟踪机制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『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无法避免的变更</a:t>
            </a:r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』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r>
              <a:rPr kumimoji="1" lang="zh-CN" altLang="en-US" sz="1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建立变更处理流程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合理应对变更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1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注意：</a:t>
            </a:r>
            <a:endParaRPr kumimoji="1" lang="en-US" altLang="zh-CN" sz="14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变更是可以提前预防的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变更是可以拒绝的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优变更的插入建议置换掉低优需求或调整进度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2A93B63C-4A00-3F46-89D7-6BFF62B7E6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71308" y="3557455"/>
            <a:ext cx="7957192" cy="3141925"/>
          </a:xfrm>
          <a:prstGeom prst="rect">
            <a:avLst/>
          </a:prstGeom>
          <a:ln w="12700">
            <a:solidFill>
              <a:schemeClr val="accent3">
                <a:hueOff val="0"/>
                <a:satOff val="0"/>
                <a:lumOff val="0"/>
              </a:schemeClr>
            </a:solidFill>
          </a:ln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D0B4282B-9FD1-0B46-BEAC-40C3ECF32EDA}"/>
              </a:ext>
            </a:extLst>
          </p:cNvPr>
          <p:cNvSpPr/>
          <p:nvPr/>
        </p:nvSpPr>
        <p:spPr>
          <a:xfrm>
            <a:off x="4171308" y="1019447"/>
            <a:ext cx="19094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常见的变更原因：</a:t>
            </a:r>
            <a:endParaRPr lang="zh-CN" altLang="en-US" sz="1400" b="1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5B05152-D087-F142-824B-C7FD7B6DC8CD}"/>
              </a:ext>
            </a:extLst>
          </p:cNvPr>
          <p:cNvSpPr/>
          <p:nvPr/>
        </p:nvSpPr>
        <p:spPr>
          <a:xfrm>
            <a:off x="4171308" y="3155657"/>
            <a:ext cx="17299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变更流程示例：</a:t>
            </a:r>
            <a:endParaRPr lang="zh-CN" alt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8153971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493FC2-BD4C-A440-860E-B927CBF34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1</a:t>
            </a:r>
            <a:r>
              <a:rPr kumimoji="1" lang="zh-CN" altLang="en-US" sz="2000" dirty="0">
                <a:solidFill>
                  <a:schemeClr val="accent1"/>
                </a:solidFill>
              </a:rPr>
              <a:t> 整体功能介绍</a:t>
            </a:r>
            <a:endParaRPr kumimoji="1" lang="zh-CN" altLang="en-US" sz="2000" dirty="0"/>
          </a:p>
        </p:txBody>
      </p:sp>
      <p:graphicFrame>
        <p:nvGraphicFramePr>
          <p:cNvPr id="26" name="图示 6">
            <a:extLst>
              <a:ext uri="{FF2B5EF4-FFF2-40B4-BE49-F238E27FC236}">
                <a16:creationId xmlns:a16="http://schemas.microsoft.com/office/drawing/2014/main" id="{B958B4A0-334F-FA4D-8A2B-612A868F8107}"/>
              </a:ext>
            </a:extLst>
          </p:cNvPr>
          <p:cNvGraphicFramePr/>
          <p:nvPr/>
        </p:nvGraphicFramePr>
        <p:xfrm>
          <a:off x="2287336" y="3215891"/>
          <a:ext cx="8305798" cy="780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27" name="直线箭头连接符 26">
            <a:extLst>
              <a:ext uri="{FF2B5EF4-FFF2-40B4-BE49-F238E27FC236}">
                <a16:creationId xmlns:a16="http://schemas.microsoft.com/office/drawing/2014/main" id="{DD6B6A66-1548-FB48-BD56-997997DADED4}"/>
              </a:ext>
            </a:extLst>
          </p:cNvPr>
          <p:cNvCxnSpPr/>
          <p:nvPr/>
        </p:nvCxnSpPr>
        <p:spPr>
          <a:xfrm flipV="1">
            <a:off x="3007416" y="2916403"/>
            <a:ext cx="0" cy="29948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直线箭头连接符 27">
            <a:extLst>
              <a:ext uri="{FF2B5EF4-FFF2-40B4-BE49-F238E27FC236}">
                <a16:creationId xmlns:a16="http://schemas.microsoft.com/office/drawing/2014/main" id="{3B464176-D013-5E46-BDAD-19EF9DF7F47B}"/>
              </a:ext>
            </a:extLst>
          </p:cNvPr>
          <p:cNvCxnSpPr/>
          <p:nvPr/>
        </p:nvCxnSpPr>
        <p:spPr>
          <a:xfrm flipV="1">
            <a:off x="5671712" y="2916403"/>
            <a:ext cx="0" cy="29948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F8DAFB56-AD54-BE4B-A0CD-7A4BEA374917}"/>
              </a:ext>
            </a:extLst>
          </p:cNvPr>
          <p:cNvCxnSpPr/>
          <p:nvPr/>
        </p:nvCxnSpPr>
        <p:spPr>
          <a:xfrm flipV="1">
            <a:off x="8408016" y="2916403"/>
            <a:ext cx="0" cy="29948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直线箭头连接符 23">
            <a:extLst>
              <a:ext uri="{FF2B5EF4-FFF2-40B4-BE49-F238E27FC236}">
                <a16:creationId xmlns:a16="http://schemas.microsoft.com/office/drawing/2014/main" id="{83FFF9FC-B07D-4C43-A676-ADC7A91A98D3}"/>
              </a:ext>
            </a:extLst>
          </p:cNvPr>
          <p:cNvCxnSpPr/>
          <p:nvPr/>
        </p:nvCxnSpPr>
        <p:spPr>
          <a:xfrm>
            <a:off x="4303560" y="3996523"/>
            <a:ext cx="0" cy="298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线箭头连接符 24">
            <a:extLst>
              <a:ext uri="{FF2B5EF4-FFF2-40B4-BE49-F238E27FC236}">
                <a16:creationId xmlns:a16="http://schemas.microsoft.com/office/drawing/2014/main" id="{9B8D19BE-E62E-3346-B769-4F86B1991EA0}"/>
              </a:ext>
            </a:extLst>
          </p:cNvPr>
          <p:cNvCxnSpPr/>
          <p:nvPr/>
        </p:nvCxnSpPr>
        <p:spPr>
          <a:xfrm>
            <a:off x="9848176" y="3996523"/>
            <a:ext cx="0" cy="298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直线箭头连接符 25">
            <a:extLst>
              <a:ext uri="{FF2B5EF4-FFF2-40B4-BE49-F238E27FC236}">
                <a16:creationId xmlns:a16="http://schemas.microsoft.com/office/drawing/2014/main" id="{0C35F3ED-6498-2E48-B3E2-DE0A4B7A46D6}"/>
              </a:ext>
            </a:extLst>
          </p:cNvPr>
          <p:cNvCxnSpPr/>
          <p:nvPr/>
        </p:nvCxnSpPr>
        <p:spPr>
          <a:xfrm>
            <a:off x="7039864" y="3996523"/>
            <a:ext cx="0" cy="298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B8CED8C1-A938-9649-9FD3-72385B059DA4}"/>
              </a:ext>
            </a:extLst>
          </p:cNvPr>
          <p:cNvSpPr/>
          <p:nvPr/>
        </p:nvSpPr>
        <p:spPr>
          <a:xfrm>
            <a:off x="1814830" y="1441234"/>
            <a:ext cx="2333284" cy="1475169"/>
          </a:xfrm>
          <a:prstGeom prst="roundRect">
            <a:avLst>
              <a:gd name="adj" fmla="val 17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9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权限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9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类型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9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字段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9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流程阶段</a:t>
            </a: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&amp;</a:t>
            </a: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工作流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9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模板</a:t>
            </a: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&amp;</a:t>
            </a: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级联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9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消息规则</a:t>
            </a:r>
          </a:p>
        </p:txBody>
      </p:sp>
      <p:sp>
        <p:nvSpPr>
          <p:cNvPr id="34" name="圆角矩形 33">
            <a:extLst>
              <a:ext uri="{FF2B5EF4-FFF2-40B4-BE49-F238E27FC236}">
                <a16:creationId xmlns:a16="http://schemas.microsoft.com/office/drawing/2014/main" id="{C97B0B8B-265E-0245-90AA-2564D7CFEC80}"/>
              </a:ext>
            </a:extLst>
          </p:cNvPr>
          <p:cNvSpPr/>
          <p:nvPr/>
        </p:nvSpPr>
        <p:spPr>
          <a:xfrm>
            <a:off x="3136918" y="4313583"/>
            <a:ext cx="2333284" cy="1475169"/>
          </a:xfrm>
          <a:prstGeom prst="roundRect">
            <a:avLst>
              <a:gd name="adj" fmla="val 258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角色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epic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Feature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story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版本</a:t>
            </a: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-</a:t>
            </a: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分组</a:t>
            </a: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/</a:t>
            </a: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计划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优先级</a:t>
            </a:r>
          </a:p>
        </p:txBody>
      </p:sp>
      <p:sp>
        <p:nvSpPr>
          <p:cNvPr id="35" name="圆角矩形 34">
            <a:extLst>
              <a:ext uri="{FF2B5EF4-FFF2-40B4-BE49-F238E27FC236}">
                <a16:creationId xmlns:a16="http://schemas.microsoft.com/office/drawing/2014/main" id="{5D1A636B-EE45-874B-BB47-97025C62C969}"/>
              </a:ext>
            </a:extLst>
          </p:cNvPr>
          <p:cNvSpPr/>
          <p:nvPr/>
        </p:nvSpPr>
        <p:spPr>
          <a:xfrm>
            <a:off x="4493640" y="1441234"/>
            <a:ext cx="2333284" cy="1475169"/>
          </a:xfrm>
          <a:prstGeom prst="roundRect">
            <a:avLst>
              <a:gd name="adj" fmla="val 260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计划树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列表模式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视图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拖拽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卡片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</p:txBody>
      </p:sp>
      <p:sp>
        <p:nvSpPr>
          <p:cNvPr id="36" name="圆角矩形 35">
            <a:extLst>
              <a:ext uri="{FF2B5EF4-FFF2-40B4-BE49-F238E27FC236}">
                <a16:creationId xmlns:a16="http://schemas.microsoft.com/office/drawing/2014/main" id="{12341CCD-276B-7046-8078-99D6CD760694}"/>
              </a:ext>
            </a:extLst>
          </p:cNvPr>
          <p:cNvSpPr/>
          <p:nvPr/>
        </p:nvSpPr>
        <p:spPr>
          <a:xfrm>
            <a:off x="7241374" y="1435735"/>
            <a:ext cx="2333284" cy="1475169"/>
          </a:xfrm>
          <a:prstGeom prst="roundRect">
            <a:avLst>
              <a:gd name="adj" fmla="val 255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en-US" altLang="zh-CN" sz="1600" dirty="0">
                <a:latin typeface="微软雅黑" charset="0"/>
                <a:ea typeface="微软雅黑" charset="0"/>
                <a:cs typeface="微软雅黑" charset="0"/>
              </a:rPr>
              <a:t>Show</a:t>
            </a:r>
            <a:r>
              <a:rPr kumimoji="1" lang="en-US" altLang="en-US" sz="1600" dirty="0">
                <a:latin typeface="微软雅黑" charset="0"/>
                <a:ea typeface="微软雅黑" charset="0"/>
                <a:cs typeface="微软雅黑" charset="0"/>
              </a:rPr>
              <a:t>case</a:t>
            </a: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列表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  <a:cs typeface="微软雅黑" charset="0"/>
              </a:rPr>
              <a:t>未完成卡片打回</a:t>
            </a:r>
            <a:endParaRPr kumimoji="1" lang="en-US" altLang="zh-CN" sz="1600" dirty="0">
              <a:latin typeface="微软雅黑" charset="0"/>
              <a:ea typeface="微软雅黑" charset="0"/>
              <a:cs typeface="微软雅黑" charset="0"/>
            </a:endParaRPr>
          </a:p>
        </p:txBody>
      </p:sp>
      <p:sp>
        <p:nvSpPr>
          <p:cNvPr id="37" name="圆角矩形 36">
            <a:extLst>
              <a:ext uri="{FF2B5EF4-FFF2-40B4-BE49-F238E27FC236}">
                <a16:creationId xmlns:a16="http://schemas.microsoft.com/office/drawing/2014/main" id="{3C890188-FED5-E54D-9AB6-B93A8C80747C}"/>
              </a:ext>
            </a:extLst>
          </p:cNvPr>
          <p:cNvSpPr/>
          <p:nvPr/>
        </p:nvSpPr>
        <p:spPr>
          <a:xfrm>
            <a:off x="5871952" y="4313583"/>
            <a:ext cx="2333284" cy="1475169"/>
          </a:xfrm>
          <a:prstGeom prst="roundRect">
            <a:avLst>
              <a:gd name="adj" fmla="val 982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看板模式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拖拽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分组设置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状态显示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卡片字段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燃尽图</a:t>
            </a:r>
          </a:p>
        </p:txBody>
      </p:sp>
      <p:sp>
        <p:nvSpPr>
          <p:cNvPr id="38" name="圆角矩形 37">
            <a:extLst>
              <a:ext uri="{FF2B5EF4-FFF2-40B4-BE49-F238E27FC236}">
                <a16:creationId xmlns:a16="http://schemas.microsoft.com/office/drawing/2014/main" id="{9BEAF8C2-15A8-C648-B3EF-C71E423BFEB6}"/>
              </a:ext>
            </a:extLst>
          </p:cNvPr>
          <p:cNvSpPr/>
          <p:nvPr/>
        </p:nvSpPr>
        <p:spPr>
          <a:xfrm>
            <a:off x="8608060" y="4309837"/>
            <a:ext cx="2333284" cy="1475169"/>
          </a:xfrm>
          <a:prstGeom prst="roundRect">
            <a:avLst>
              <a:gd name="adj" fmla="val 2582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二维表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团队速率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散点图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kumimoji="1" lang="zh-CN" altLang="en-US" sz="1600" dirty="0">
                <a:latin typeface="微软雅黑" charset="0"/>
                <a:ea typeface="微软雅黑" charset="0"/>
              </a:rPr>
              <a:t>累积流图</a:t>
            </a:r>
            <a:endParaRPr kumimoji="1" lang="en-US" altLang="zh-CN" sz="1600" dirty="0">
              <a:latin typeface="微软雅黑" charset="0"/>
              <a:ea typeface="微软雅黑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125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6" grpId="0">
        <p:bldAsOne/>
      </p:bldGraphic>
      <p:bldP spid="33" grpId="0" bldLvl="0" animBg="1"/>
      <p:bldP spid="34" grpId="0" bldLvl="0" animBg="1"/>
      <p:bldP spid="35" grpId="0" bldLvl="0" animBg="1"/>
      <p:bldP spid="36" grpId="0" bldLvl="0" animBg="1"/>
      <p:bldP spid="37" grpId="0" bldLvl="0" animBg="1"/>
      <p:bldP spid="38" grpId="0" bldLvl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F216F26B-B941-FD45-A558-70F76C686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1.</a:t>
            </a:r>
            <a:r>
              <a:rPr kumimoji="1" lang="zh-CN" altLang="en-US" dirty="0"/>
              <a:t> 工程效能</a:t>
            </a:r>
            <a:r>
              <a:rPr kumimoji="1" lang="en-US" altLang="zh-CN" dirty="0"/>
              <a:t>|</a:t>
            </a:r>
            <a:r>
              <a:rPr kumimoji="1" lang="zh-CN" altLang="en-US" sz="1800" dirty="0">
                <a:solidFill>
                  <a:schemeClr val="accent1"/>
                </a:solidFill>
              </a:rPr>
              <a:t>定义、目标和意义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FFFD47D9-79A1-084E-85D1-7DCB2AA91C9A}"/>
              </a:ext>
            </a:extLst>
          </p:cNvPr>
          <p:cNvSpPr/>
          <p:nvPr/>
        </p:nvSpPr>
        <p:spPr>
          <a:xfrm>
            <a:off x="513031" y="3420429"/>
            <a:ext cx="5408531" cy="3193567"/>
          </a:xfrm>
          <a:prstGeom prst="rect">
            <a:avLst/>
          </a:prstGeom>
          <a:ln w="19050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工程效能聚焦在让人力投入更高效：</a:t>
            </a:r>
            <a:endParaRPr lang="en-US" altLang="zh-CN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25784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力投入分布：研发投入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非研发投入占比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25784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升非研发活动效率：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82984" lvl="1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降低值班答疑、开会效率、知识沉淀、新人快速培养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…</a:t>
            </a:r>
          </a:p>
          <a:p>
            <a:pPr marL="325784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效端到端研发工具链：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82984" lvl="1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求如何拆解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,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拆多大？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M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求有效性、研发交付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LA</a:t>
            </a:r>
          </a:p>
          <a:p>
            <a:pPr marL="782984" lvl="1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研发流程、开发环境、框架选型，分支规范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82984" lvl="1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测试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s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、框架，流水线建设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82984" lvl="1" indent="-3257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级发布，监控、日志、预案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6AFD97D-815C-F842-A48B-1F952674BA85}"/>
              </a:ext>
            </a:extLst>
          </p:cNvPr>
          <p:cNvGrpSpPr/>
          <p:nvPr/>
        </p:nvGrpSpPr>
        <p:grpSpPr>
          <a:xfrm>
            <a:off x="6033269" y="3420428"/>
            <a:ext cx="5663706" cy="3193567"/>
            <a:chOff x="6033269" y="3420428"/>
            <a:chExt cx="5663706" cy="319356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6EF17C36-30B7-8146-B769-2C92573A9100}"/>
                </a:ext>
              </a:extLst>
            </p:cNvPr>
            <p:cNvSpPr/>
            <p:nvPr/>
          </p:nvSpPr>
          <p:spPr>
            <a:xfrm>
              <a:off x="6069497" y="3487677"/>
              <a:ext cx="5515771" cy="11875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不同企业、团队工程效能差异巨大</a:t>
              </a:r>
              <a:endPara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325784" indent="-325784">
                <a:buFont typeface="Arial" panose="020B0604020202020204" pitchFamily="34" charset="0"/>
                <a:buChar char="•"/>
              </a:pP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阿里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211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：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85% 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的需求 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2 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周内交付完成，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 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周内开发完成；创建变更后 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 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小时完成发布</a:t>
              </a:r>
              <a:endPara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325784" indent="-325784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Feed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：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50%+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的需求天级交付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(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开发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-&gt;</a:t>
              </a:r>
              <a:r>
                <a:rPr lang="zh-CN" altLang="en-US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上线</a:t>
              </a:r>
              <a:r>
                <a:rPr lang="en-US" altLang="zh-CN" sz="16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)</a:t>
              </a:r>
            </a:p>
          </p:txBody>
        </p:sp>
        <p:pic>
          <p:nvPicPr>
            <p:cNvPr id="41" name="图片 40">
              <a:extLst>
                <a:ext uri="{FF2B5EF4-FFF2-40B4-BE49-F238E27FC236}">
                  <a16:creationId xmlns:a16="http://schemas.microsoft.com/office/drawing/2014/main" id="{095E259D-1A5E-7D41-9976-AEF135BE81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51318" y="4768525"/>
              <a:ext cx="2706856" cy="1710652"/>
            </a:xfrm>
            <a:prstGeom prst="rect">
              <a:avLst/>
            </a:prstGeom>
          </p:spPr>
        </p:pic>
        <p:pic>
          <p:nvPicPr>
            <p:cNvPr id="42" name="图片 41">
              <a:extLst>
                <a:ext uri="{FF2B5EF4-FFF2-40B4-BE49-F238E27FC236}">
                  <a16:creationId xmlns:a16="http://schemas.microsoft.com/office/drawing/2014/main" id="{64D7A7BA-9826-B348-A48A-62B37D2B6F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69497" y="4768525"/>
              <a:ext cx="2776319" cy="1720267"/>
            </a:xfrm>
            <a:prstGeom prst="rect">
              <a:avLst/>
            </a:prstGeom>
          </p:spPr>
        </p:pic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8FF3A5C4-245F-D046-BE1A-CB983C1CEF26}"/>
                </a:ext>
              </a:extLst>
            </p:cNvPr>
            <p:cNvSpPr/>
            <p:nvPr/>
          </p:nvSpPr>
          <p:spPr>
            <a:xfrm>
              <a:off x="6033269" y="3420428"/>
              <a:ext cx="5663706" cy="3193567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2CF74DEC-3BCB-5047-A90A-B285261EBFA7}"/>
              </a:ext>
            </a:extLst>
          </p:cNvPr>
          <p:cNvGrpSpPr/>
          <p:nvPr/>
        </p:nvGrpSpPr>
        <p:grpSpPr>
          <a:xfrm>
            <a:off x="515943" y="1060729"/>
            <a:ext cx="11230743" cy="2141525"/>
            <a:chOff x="515943" y="1060729"/>
            <a:chExt cx="11230743" cy="2141525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F8722E19-8367-3540-8E6F-92976CEB4795}"/>
                </a:ext>
              </a:extLst>
            </p:cNvPr>
            <p:cNvSpPr/>
            <p:nvPr/>
          </p:nvSpPr>
          <p:spPr>
            <a:xfrm>
              <a:off x="546315" y="1060729"/>
              <a:ext cx="10973908" cy="8744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工程</a:t>
              </a:r>
              <a:r>
                <a:rPr lang="zh-CN" altLang="en-US" b="1" dirty="0">
                  <a:solidFill>
                    <a:srgbClr val="0070C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效</a:t>
              </a:r>
              <a:r>
                <a:rPr lang="zh-CN" altLang="en-US" b="1" dirty="0">
                  <a:solidFill>
                    <a:srgbClr val="FF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能</a:t>
              </a:r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en-US" altLang="zh-CN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=</a:t>
              </a:r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干更有价值的事 </a:t>
              </a:r>
              <a:r>
                <a:rPr lang="en-US" altLang="zh-CN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+ </a:t>
              </a:r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干得更快更好更省</a:t>
              </a:r>
              <a:endPara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b="1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工程效能是技术企业的核心竞争力，是公司重要的组织能力</a:t>
              </a:r>
              <a:endParaRPr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grpSp>
          <p:nvGrpSpPr>
            <p:cNvPr id="74" name="组合 73">
              <a:extLst>
                <a:ext uri="{FF2B5EF4-FFF2-40B4-BE49-F238E27FC236}">
                  <a16:creationId xmlns:a16="http://schemas.microsoft.com/office/drawing/2014/main" id="{CE3462F7-6274-4241-8BF6-A402AC462D2C}"/>
                </a:ext>
              </a:extLst>
            </p:cNvPr>
            <p:cNvGrpSpPr/>
            <p:nvPr/>
          </p:nvGrpSpPr>
          <p:grpSpPr>
            <a:xfrm>
              <a:off x="587962" y="2124148"/>
              <a:ext cx="11158724" cy="1078106"/>
              <a:chOff x="299682" y="2413834"/>
              <a:chExt cx="11158724" cy="1078106"/>
            </a:xfrm>
          </p:grpSpPr>
          <p:grpSp>
            <p:nvGrpSpPr>
              <p:cNvPr id="67" name="组合 66">
                <a:extLst>
                  <a:ext uri="{FF2B5EF4-FFF2-40B4-BE49-F238E27FC236}">
                    <a16:creationId xmlns:a16="http://schemas.microsoft.com/office/drawing/2014/main" id="{2FBCB631-E17A-7B4F-BBB9-8A416B591F3E}"/>
                  </a:ext>
                </a:extLst>
              </p:cNvPr>
              <p:cNvGrpSpPr/>
              <p:nvPr/>
            </p:nvGrpSpPr>
            <p:grpSpPr>
              <a:xfrm>
                <a:off x="1684872" y="2617833"/>
                <a:ext cx="8231667" cy="606557"/>
                <a:chOff x="223904" y="2630625"/>
                <a:chExt cx="5823700" cy="606557"/>
              </a:xfrm>
            </p:grpSpPr>
            <p:sp>
              <p:nvSpPr>
                <p:cNvPr id="12" name="右箭头 11">
                  <a:extLst>
                    <a:ext uri="{FF2B5EF4-FFF2-40B4-BE49-F238E27FC236}">
                      <a16:creationId xmlns:a16="http://schemas.microsoft.com/office/drawing/2014/main" id="{C3B9945A-00CE-5D48-ABB1-D7E5D05EE913}"/>
                    </a:ext>
                  </a:extLst>
                </p:cNvPr>
                <p:cNvSpPr/>
                <p:nvPr/>
              </p:nvSpPr>
              <p:spPr>
                <a:xfrm>
                  <a:off x="418864" y="2839729"/>
                  <a:ext cx="5425283" cy="74543"/>
                </a:xfrm>
                <a:prstGeom prst="rightArrow">
                  <a:avLst/>
                </a:prstGeom>
                <a:solidFill>
                  <a:srgbClr val="2E559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 dirty="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13" name="椭圆 12">
                  <a:extLst>
                    <a:ext uri="{FF2B5EF4-FFF2-40B4-BE49-F238E27FC236}">
                      <a16:creationId xmlns:a16="http://schemas.microsoft.com/office/drawing/2014/main" id="{A2ED1C5C-B1E6-DC47-88FB-06721D15CD0D}"/>
                    </a:ext>
                  </a:extLst>
                </p:cNvPr>
                <p:cNvSpPr/>
                <p:nvPr/>
              </p:nvSpPr>
              <p:spPr>
                <a:xfrm>
                  <a:off x="2576269" y="2806501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14" name="文本框 13">
                  <a:extLst>
                    <a:ext uri="{FF2B5EF4-FFF2-40B4-BE49-F238E27FC236}">
                      <a16:creationId xmlns:a16="http://schemas.microsoft.com/office/drawing/2014/main" id="{BF42142E-0415-C746-8F3B-578D8EACF77B}"/>
                    </a:ext>
                  </a:extLst>
                </p:cNvPr>
                <p:cNvSpPr txBox="1"/>
                <p:nvPr/>
              </p:nvSpPr>
              <p:spPr>
                <a:xfrm>
                  <a:off x="261376" y="2915235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新建需求</a:t>
                  </a:r>
                </a:p>
              </p:txBody>
            </p:sp>
            <p:sp>
              <p:nvSpPr>
                <p:cNvPr id="15" name="文本框 14">
                  <a:extLst>
                    <a:ext uri="{FF2B5EF4-FFF2-40B4-BE49-F238E27FC236}">
                      <a16:creationId xmlns:a16="http://schemas.microsoft.com/office/drawing/2014/main" id="{CBC1D47D-BCBD-394F-B592-79144041086E}"/>
                    </a:ext>
                  </a:extLst>
                </p:cNvPr>
                <p:cNvSpPr txBox="1"/>
                <p:nvPr/>
              </p:nvSpPr>
              <p:spPr>
                <a:xfrm>
                  <a:off x="868234" y="2909840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响应需求</a:t>
                  </a:r>
                </a:p>
              </p:txBody>
            </p:sp>
            <p:sp>
              <p:nvSpPr>
                <p:cNvPr id="16" name="文本框 15">
                  <a:extLst>
                    <a:ext uri="{FF2B5EF4-FFF2-40B4-BE49-F238E27FC236}">
                      <a16:creationId xmlns:a16="http://schemas.microsoft.com/office/drawing/2014/main" id="{3E63E8FC-E23E-F041-B80D-6470643ABD29}"/>
                    </a:ext>
                  </a:extLst>
                </p:cNvPr>
                <p:cNvSpPr txBox="1"/>
                <p:nvPr/>
              </p:nvSpPr>
              <p:spPr>
                <a:xfrm>
                  <a:off x="2970965" y="2917527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启动设计</a:t>
                  </a:r>
                </a:p>
              </p:txBody>
            </p:sp>
            <p:sp>
              <p:nvSpPr>
                <p:cNvPr id="17" name="文本框 16">
                  <a:extLst>
                    <a:ext uri="{FF2B5EF4-FFF2-40B4-BE49-F238E27FC236}">
                      <a16:creationId xmlns:a16="http://schemas.microsoft.com/office/drawing/2014/main" id="{2B87F0B8-6C8E-B949-AEE1-D652ACD20EEB}"/>
                    </a:ext>
                  </a:extLst>
                </p:cNvPr>
                <p:cNvSpPr txBox="1"/>
                <p:nvPr/>
              </p:nvSpPr>
              <p:spPr>
                <a:xfrm>
                  <a:off x="3684686" y="2917527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进入开发</a:t>
                  </a:r>
                </a:p>
              </p:txBody>
            </p:sp>
            <p:sp>
              <p:nvSpPr>
                <p:cNvPr id="18" name="文本框 17">
                  <a:extLst>
                    <a:ext uri="{FF2B5EF4-FFF2-40B4-BE49-F238E27FC236}">
                      <a16:creationId xmlns:a16="http://schemas.microsoft.com/office/drawing/2014/main" id="{37677DB7-1A1D-FA43-8DA6-F209E47BBE28}"/>
                    </a:ext>
                  </a:extLst>
                </p:cNvPr>
                <p:cNvSpPr txBox="1"/>
                <p:nvPr/>
              </p:nvSpPr>
              <p:spPr>
                <a:xfrm>
                  <a:off x="4550256" y="2917527"/>
                  <a:ext cx="384682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提测</a:t>
                  </a:r>
                </a:p>
              </p:txBody>
            </p:sp>
            <p:sp>
              <p:nvSpPr>
                <p:cNvPr id="19" name="文本框 18">
                  <a:extLst>
                    <a:ext uri="{FF2B5EF4-FFF2-40B4-BE49-F238E27FC236}">
                      <a16:creationId xmlns:a16="http://schemas.microsoft.com/office/drawing/2014/main" id="{D80957CA-A48B-3A4E-9C02-1BF10F9EF5D6}"/>
                    </a:ext>
                  </a:extLst>
                </p:cNvPr>
                <p:cNvSpPr txBox="1"/>
                <p:nvPr/>
              </p:nvSpPr>
              <p:spPr>
                <a:xfrm>
                  <a:off x="5247035" y="2917527"/>
                  <a:ext cx="384682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上线</a:t>
                  </a:r>
                </a:p>
              </p:txBody>
            </p:sp>
            <p:sp>
              <p:nvSpPr>
                <p:cNvPr id="20" name="椭圆 19">
                  <a:extLst>
                    <a:ext uri="{FF2B5EF4-FFF2-40B4-BE49-F238E27FC236}">
                      <a16:creationId xmlns:a16="http://schemas.microsoft.com/office/drawing/2014/main" id="{FDE60C03-384E-1F4A-84D6-BCFBF36AB75B}"/>
                    </a:ext>
                  </a:extLst>
                </p:cNvPr>
                <p:cNvSpPr/>
                <p:nvPr/>
              </p:nvSpPr>
              <p:spPr>
                <a:xfrm>
                  <a:off x="1154439" y="2806501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C1BC6EE6-4B43-5043-BC6E-B231DBC385F2}"/>
                    </a:ext>
                  </a:extLst>
                </p:cNvPr>
                <p:cNvSpPr/>
                <p:nvPr/>
              </p:nvSpPr>
              <p:spPr>
                <a:xfrm>
                  <a:off x="1865354" y="2806501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22" name="椭圆 21">
                  <a:extLst>
                    <a:ext uri="{FF2B5EF4-FFF2-40B4-BE49-F238E27FC236}">
                      <a16:creationId xmlns:a16="http://schemas.microsoft.com/office/drawing/2014/main" id="{238B2818-8A69-AC4B-BAB6-A0544CC5C559}"/>
                    </a:ext>
                  </a:extLst>
                </p:cNvPr>
                <p:cNvSpPr/>
                <p:nvPr/>
              </p:nvSpPr>
              <p:spPr>
                <a:xfrm>
                  <a:off x="3998101" y="2806501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23" name="椭圆 22">
                  <a:extLst>
                    <a:ext uri="{FF2B5EF4-FFF2-40B4-BE49-F238E27FC236}">
                      <a16:creationId xmlns:a16="http://schemas.microsoft.com/office/drawing/2014/main" id="{E9B65AA9-32B7-2240-A24A-43EA38DDD447}"/>
                    </a:ext>
                  </a:extLst>
                </p:cNvPr>
                <p:cNvSpPr/>
                <p:nvPr/>
              </p:nvSpPr>
              <p:spPr>
                <a:xfrm>
                  <a:off x="4709016" y="2806501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24" name="椭圆 23">
                  <a:extLst>
                    <a:ext uri="{FF2B5EF4-FFF2-40B4-BE49-F238E27FC236}">
                      <a16:creationId xmlns:a16="http://schemas.microsoft.com/office/drawing/2014/main" id="{66860077-4E08-5941-BF5F-FE39344051D3}"/>
                    </a:ext>
                  </a:extLst>
                </p:cNvPr>
                <p:cNvSpPr/>
                <p:nvPr/>
              </p:nvSpPr>
              <p:spPr>
                <a:xfrm>
                  <a:off x="5419929" y="2806501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25" name="文本框 24">
                  <a:extLst>
                    <a:ext uri="{FF2B5EF4-FFF2-40B4-BE49-F238E27FC236}">
                      <a16:creationId xmlns:a16="http://schemas.microsoft.com/office/drawing/2014/main" id="{D8E8C0D5-DE5D-6D44-9393-BD48F0AB0C4C}"/>
                    </a:ext>
                  </a:extLst>
                </p:cNvPr>
                <p:cNvSpPr txBox="1"/>
                <p:nvPr/>
              </p:nvSpPr>
              <p:spPr>
                <a:xfrm>
                  <a:off x="2248071" y="2917527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迭代开始</a:t>
                  </a:r>
                </a:p>
              </p:txBody>
            </p:sp>
            <p:sp>
              <p:nvSpPr>
                <p:cNvPr id="26" name="椭圆 25">
                  <a:extLst>
                    <a:ext uri="{FF2B5EF4-FFF2-40B4-BE49-F238E27FC236}">
                      <a16:creationId xmlns:a16="http://schemas.microsoft.com/office/drawing/2014/main" id="{0E890C6A-A0C6-2B4E-A4D1-8E65BC292C96}"/>
                    </a:ext>
                  </a:extLst>
                </p:cNvPr>
                <p:cNvSpPr/>
                <p:nvPr/>
              </p:nvSpPr>
              <p:spPr>
                <a:xfrm>
                  <a:off x="3287185" y="2806501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27" name="文本框 26">
                  <a:extLst>
                    <a:ext uri="{FF2B5EF4-FFF2-40B4-BE49-F238E27FC236}">
                      <a16:creationId xmlns:a16="http://schemas.microsoft.com/office/drawing/2014/main" id="{18F10990-4D63-0249-B035-667A3F96D9F7}"/>
                    </a:ext>
                  </a:extLst>
                </p:cNvPr>
                <p:cNvSpPr txBox="1"/>
                <p:nvPr/>
              </p:nvSpPr>
              <p:spPr>
                <a:xfrm>
                  <a:off x="523180" y="2630625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需求响应</a:t>
                  </a:r>
                </a:p>
              </p:txBody>
            </p:sp>
            <p:sp>
              <p:nvSpPr>
                <p:cNvPr id="28" name="文本框 27">
                  <a:extLst>
                    <a:ext uri="{FF2B5EF4-FFF2-40B4-BE49-F238E27FC236}">
                      <a16:creationId xmlns:a16="http://schemas.microsoft.com/office/drawing/2014/main" id="{6DAB2A7C-72B7-4F45-B01C-D6DECF21C789}"/>
                    </a:ext>
                  </a:extLst>
                </p:cNvPr>
                <p:cNvSpPr txBox="1"/>
                <p:nvPr/>
              </p:nvSpPr>
              <p:spPr>
                <a:xfrm>
                  <a:off x="2034288" y="2630625"/>
                  <a:ext cx="384682" cy="307777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等待</a:t>
                  </a:r>
                </a:p>
              </p:txBody>
            </p:sp>
            <p:sp>
              <p:nvSpPr>
                <p:cNvPr id="29" name="文本框 28">
                  <a:extLst>
                    <a:ext uri="{FF2B5EF4-FFF2-40B4-BE49-F238E27FC236}">
                      <a16:creationId xmlns:a16="http://schemas.microsoft.com/office/drawing/2014/main" id="{A267793C-A8F8-1A4C-8C59-4794AA8A76C7}"/>
                    </a:ext>
                  </a:extLst>
                </p:cNvPr>
                <p:cNvSpPr txBox="1"/>
                <p:nvPr/>
              </p:nvSpPr>
              <p:spPr>
                <a:xfrm>
                  <a:off x="2679866" y="2630625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需求评审</a:t>
                  </a:r>
                </a:p>
              </p:txBody>
            </p:sp>
            <p:sp>
              <p:nvSpPr>
                <p:cNvPr id="30" name="文本框 29">
                  <a:extLst>
                    <a:ext uri="{FF2B5EF4-FFF2-40B4-BE49-F238E27FC236}">
                      <a16:creationId xmlns:a16="http://schemas.microsoft.com/office/drawing/2014/main" id="{35806330-AC36-694D-B915-6B430D6083E2}"/>
                    </a:ext>
                  </a:extLst>
                </p:cNvPr>
                <p:cNvSpPr txBox="1"/>
                <p:nvPr/>
              </p:nvSpPr>
              <p:spPr>
                <a:xfrm>
                  <a:off x="3506399" y="2630625"/>
                  <a:ext cx="384682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设计</a:t>
                  </a:r>
                </a:p>
              </p:txBody>
            </p:sp>
            <p:sp>
              <p:nvSpPr>
                <p:cNvPr id="31" name="文本框 30">
                  <a:extLst>
                    <a:ext uri="{FF2B5EF4-FFF2-40B4-BE49-F238E27FC236}">
                      <a16:creationId xmlns:a16="http://schemas.microsoft.com/office/drawing/2014/main" id="{26481ECA-81DB-A74B-B1ED-002F27DC20DD}"/>
                    </a:ext>
                  </a:extLst>
                </p:cNvPr>
                <p:cNvSpPr txBox="1"/>
                <p:nvPr/>
              </p:nvSpPr>
              <p:spPr>
                <a:xfrm>
                  <a:off x="4202465" y="2630625"/>
                  <a:ext cx="384682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开发</a:t>
                  </a:r>
                </a:p>
              </p:txBody>
            </p:sp>
            <p:sp>
              <p:nvSpPr>
                <p:cNvPr id="32" name="文本框 31">
                  <a:extLst>
                    <a:ext uri="{FF2B5EF4-FFF2-40B4-BE49-F238E27FC236}">
                      <a16:creationId xmlns:a16="http://schemas.microsoft.com/office/drawing/2014/main" id="{6EFCE043-9AB1-E844-940D-E152B7E58D47}"/>
                    </a:ext>
                  </a:extLst>
                </p:cNvPr>
                <p:cNvSpPr txBox="1"/>
                <p:nvPr/>
              </p:nvSpPr>
              <p:spPr>
                <a:xfrm>
                  <a:off x="4893649" y="2630625"/>
                  <a:ext cx="384682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测试</a:t>
                  </a:r>
                </a:p>
              </p:txBody>
            </p:sp>
            <p:sp>
              <p:nvSpPr>
                <p:cNvPr id="33" name="文本框 32">
                  <a:extLst>
                    <a:ext uri="{FF2B5EF4-FFF2-40B4-BE49-F238E27FC236}">
                      <a16:creationId xmlns:a16="http://schemas.microsoft.com/office/drawing/2014/main" id="{925E4C74-D211-844C-A229-1FEFA149935E}"/>
                    </a:ext>
                  </a:extLst>
                </p:cNvPr>
                <p:cNvSpPr txBox="1"/>
                <p:nvPr/>
              </p:nvSpPr>
              <p:spPr>
                <a:xfrm>
                  <a:off x="5528369" y="2630625"/>
                  <a:ext cx="441146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运维</a:t>
                  </a:r>
                </a:p>
              </p:txBody>
            </p:sp>
            <p:sp>
              <p:nvSpPr>
                <p:cNvPr id="34" name="椭圆 66">
                  <a:extLst>
                    <a:ext uri="{FF2B5EF4-FFF2-40B4-BE49-F238E27FC236}">
                      <a16:creationId xmlns:a16="http://schemas.microsoft.com/office/drawing/2014/main" id="{85557D91-6658-024C-9B33-6468896E5EF6}"/>
                    </a:ext>
                  </a:extLst>
                </p:cNvPr>
                <p:cNvSpPr/>
                <p:nvPr/>
              </p:nvSpPr>
              <p:spPr>
                <a:xfrm>
                  <a:off x="418864" y="2820565"/>
                  <a:ext cx="107943" cy="107943"/>
                </a:xfrm>
                <a:prstGeom prst="ellipse">
                  <a:avLst/>
                </a:prstGeom>
                <a:solidFill>
                  <a:srgbClr val="EC714E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  <p:sp>
              <p:nvSpPr>
                <p:cNvPr id="35" name="文本框 60">
                  <a:extLst>
                    <a:ext uri="{FF2B5EF4-FFF2-40B4-BE49-F238E27FC236}">
                      <a16:creationId xmlns:a16="http://schemas.microsoft.com/office/drawing/2014/main" id="{DB483567-85D5-E540-B779-965B91E5D6B4}"/>
                    </a:ext>
                  </a:extLst>
                </p:cNvPr>
                <p:cNvSpPr txBox="1"/>
                <p:nvPr/>
              </p:nvSpPr>
              <p:spPr>
                <a:xfrm>
                  <a:off x="1558289" y="2929405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确定排期</a:t>
                  </a:r>
                </a:p>
              </p:txBody>
            </p:sp>
            <p:sp>
              <p:nvSpPr>
                <p:cNvPr id="36" name="文本框 60">
                  <a:extLst>
                    <a:ext uri="{FF2B5EF4-FFF2-40B4-BE49-F238E27FC236}">
                      <a16:creationId xmlns:a16="http://schemas.microsoft.com/office/drawing/2014/main" id="{193CEA39-FEE4-DA45-9245-088542D5D0D7}"/>
                    </a:ext>
                  </a:extLst>
                </p:cNvPr>
                <p:cNvSpPr txBox="1"/>
                <p:nvPr/>
              </p:nvSpPr>
              <p:spPr>
                <a:xfrm>
                  <a:off x="1254191" y="2630625"/>
                  <a:ext cx="63871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1400" dirty="0">
                      <a:latin typeface="Microsoft YaHei" panose="020B0503020204020204" pitchFamily="34" charset="-122"/>
                      <a:ea typeface="Microsoft YaHei" panose="020B0503020204020204" pitchFamily="34" charset="-122"/>
                    </a:rPr>
                    <a:t>需求分析</a:t>
                  </a:r>
                </a:p>
              </p:txBody>
            </p:sp>
            <p:sp>
              <p:nvSpPr>
                <p:cNvPr id="37" name="矩形 36">
                  <a:extLst>
                    <a:ext uri="{FF2B5EF4-FFF2-40B4-BE49-F238E27FC236}">
                      <a16:creationId xmlns:a16="http://schemas.microsoft.com/office/drawing/2014/main" id="{2646D2B3-2AAB-E24A-858C-8A0BB3C175BF}"/>
                    </a:ext>
                  </a:extLst>
                </p:cNvPr>
                <p:cNvSpPr/>
                <p:nvPr/>
              </p:nvSpPr>
              <p:spPr>
                <a:xfrm>
                  <a:off x="223904" y="2630625"/>
                  <a:ext cx="5823700" cy="598871"/>
                </a:xfrm>
                <a:prstGeom prst="rect">
                  <a:avLst/>
                </a:prstGeom>
                <a:noFill/>
                <a:ln>
                  <a:solidFill>
                    <a:srgbClr val="C00000"/>
                  </a:solidFill>
                  <a:prstDash val="lg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400">
                    <a:latin typeface="Microsoft YaHei" panose="020B0503020204020204" pitchFamily="34" charset="-122"/>
                    <a:ea typeface="Microsoft YaHei" panose="020B0503020204020204" pitchFamily="34" charset="-122"/>
                  </a:endParaRPr>
                </a:p>
              </p:txBody>
            </p:sp>
          </p:grpSp>
          <p:sp>
            <p:nvSpPr>
              <p:cNvPr id="52" name="文本框 51">
                <a:extLst>
                  <a:ext uri="{FF2B5EF4-FFF2-40B4-BE49-F238E27FC236}">
                    <a16:creationId xmlns:a16="http://schemas.microsoft.com/office/drawing/2014/main" id="{286CEA34-D255-9A4D-9386-477E23A2EE94}"/>
                  </a:ext>
                </a:extLst>
              </p:cNvPr>
              <p:cNvSpPr txBox="1"/>
              <p:nvPr/>
            </p:nvSpPr>
            <p:spPr>
              <a:xfrm>
                <a:off x="10217704" y="3153386"/>
                <a:ext cx="12407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CN" altLang="en-US" sz="16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业务产出</a:t>
                </a:r>
              </a:p>
            </p:txBody>
          </p:sp>
          <p:pic>
            <p:nvPicPr>
              <p:cNvPr id="58" name="图片 57">
                <a:extLst>
                  <a:ext uri="{FF2B5EF4-FFF2-40B4-BE49-F238E27FC236}">
                    <a16:creationId xmlns:a16="http://schemas.microsoft.com/office/drawing/2014/main" id="{AF0DAA3C-B7B2-AD45-A1D4-9B5E85EBC2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65933" y="2413834"/>
                <a:ext cx="658166" cy="587141"/>
              </a:xfrm>
              <a:prstGeom prst="rect">
                <a:avLst/>
              </a:prstGeom>
            </p:spPr>
          </p:pic>
          <p:pic>
            <p:nvPicPr>
              <p:cNvPr id="59" name="图片 58">
                <a:extLst>
                  <a:ext uri="{FF2B5EF4-FFF2-40B4-BE49-F238E27FC236}">
                    <a16:creationId xmlns:a16="http://schemas.microsoft.com/office/drawing/2014/main" id="{27F2493B-A98C-EB4C-90F7-C676184AF0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428795" y="2531464"/>
                <a:ext cx="575530" cy="469511"/>
              </a:xfrm>
              <a:prstGeom prst="rect">
                <a:avLst/>
              </a:prstGeom>
            </p:spPr>
          </p:pic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661FFD9E-B758-0B4B-9D4B-2192F9DF9AFB}"/>
                  </a:ext>
                </a:extLst>
              </p:cNvPr>
              <p:cNvSpPr txBox="1"/>
              <p:nvPr/>
            </p:nvSpPr>
            <p:spPr>
              <a:xfrm>
                <a:off x="299682" y="3039723"/>
                <a:ext cx="12407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1600" dirty="0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研发投入</a:t>
                </a:r>
              </a:p>
            </p:txBody>
          </p:sp>
          <p:sp>
            <p:nvSpPr>
              <p:cNvPr id="72" name="右箭头 71">
                <a:extLst>
                  <a:ext uri="{FF2B5EF4-FFF2-40B4-BE49-F238E27FC236}">
                    <a16:creationId xmlns:a16="http://schemas.microsoft.com/office/drawing/2014/main" id="{0FFE6E62-3D3C-6A48-A91F-28A153E5DF39}"/>
                  </a:ext>
                </a:extLst>
              </p:cNvPr>
              <p:cNvSpPr/>
              <p:nvPr/>
            </p:nvSpPr>
            <p:spPr>
              <a:xfrm>
                <a:off x="1342476" y="2709559"/>
                <a:ext cx="186690" cy="234756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73" name="右箭头 72">
                <a:extLst>
                  <a:ext uri="{FF2B5EF4-FFF2-40B4-BE49-F238E27FC236}">
                    <a16:creationId xmlns:a16="http://schemas.microsoft.com/office/drawing/2014/main" id="{7F8551B4-5DEB-0746-85D4-43B58743A6B2}"/>
                  </a:ext>
                </a:extLst>
              </p:cNvPr>
              <p:cNvSpPr/>
              <p:nvPr/>
            </p:nvSpPr>
            <p:spPr>
              <a:xfrm>
                <a:off x="10155131" y="2725047"/>
                <a:ext cx="186690" cy="234756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747E6D9D-7B9B-8B46-80C0-8B966EDC204B}"/>
                </a:ext>
              </a:extLst>
            </p:cNvPr>
            <p:cNvSpPr/>
            <p:nvPr/>
          </p:nvSpPr>
          <p:spPr>
            <a:xfrm>
              <a:off x="515943" y="1060729"/>
              <a:ext cx="11181032" cy="2141525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3835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EAD86B50-50E4-9B4F-B50B-6D20241F16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2</a:t>
            </a:r>
            <a:r>
              <a:rPr kumimoji="1" lang="zh-CN" altLang="en-US" sz="2000" dirty="0">
                <a:solidFill>
                  <a:schemeClr val="accent1"/>
                </a:solidFill>
              </a:rPr>
              <a:t> 空间配置</a:t>
            </a:r>
            <a:r>
              <a:rPr kumimoji="1" lang="en-US" altLang="zh-CN" sz="2000" dirty="0">
                <a:solidFill>
                  <a:schemeClr val="accent1"/>
                </a:solidFill>
              </a:rPr>
              <a:t>-</a:t>
            </a:r>
            <a:r>
              <a:rPr kumimoji="1" lang="zh-CN" altLang="en-US" sz="2000" dirty="0">
                <a:solidFill>
                  <a:schemeClr val="accent1"/>
                </a:solidFill>
              </a:rPr>
              <a:t>卡片类型及字段配置</a:t>
            </a:r>
            <a:endParaRPr kumimoji="1" lang="zh-CN" altLang="en-US" sz="2000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2795CE7-6C62-F848-A27E-1FE38CF676E3}"/>
              </a:ext>
            </a:extLst>
          </p:cNvPr>
          <p:cNvSpPr/>
          <p:nvPr/>
        </p:nvSpPr>
        <p:spPr>
          <a:xfrm>
            <a:off x="423545" y="1055665"/>
            <a:ext cx="32372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卡片</a:t>
            </a:r>
            <a:r>
              <a:rPr lang="zh-CN" altLang="is-IS" sz="1600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类型配置</a:t>
            </a: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推荐</a:t>
            </a:r>
          </a:p>
        </p:txBody>
      </p:sp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04DD74F2-5A0D-A346-9D78-187E6781302C}"/>
              </a:ext>
            </a:extLst>
          </p:cNvPr>
          <p:cNvGraphicFramePr/>
          <p:nvPr/>
        </p:nvGraphicFramePr>
        <p:xfrm>
          <a:off x="526287" y="923619"/>
          <a:ext cx="4552950" cy="37598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矩形 5">
            <a:extLst>
              <a:ext uri="{FF2B5EF4-FFF2-40B4-BE49-F238E27FC236}">
                <a16:creationId xmlns:a16="http://schemas.microsoft.com/office/drawing/2014/main" id="{8A10C92E-AA7A-0840-8E6A-8BB7B2848910}"/>
              </a:ext>
            </a:extLst>
          </p:cNvPr>
          <p:cNvSpPr/>
          <p:nvPr/>
        </p:nvSpPr>
        <p:spPr>
          <a:xfrm>
            <a:off x="423545" y="4602368"/>
            <a:ext cx="3237230" cy="1393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优先顺序推荐</a:t>
            </a:r>
          </a:p>
          <a:p>
            <a:pPr marL="68834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系统类型</a:t>
            </a:r>
          </a:p>
          <a:p>
            <a:pPr marL="68834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共享类型</a:t>
            </a:r>
          </a:p>
          <a:p>
            <a:pPr marL="68834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自定义类型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68E12CB-BF22-9842-8444-F3A2A3F5E2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88986" y="1394219"/>
            <a:ext cx="5126990" cy="4544695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8F5C8E8A-ABBC-A94F-839E-FDBFEE92E1B9}"/>
              </a:ext>
            </a:extLst>
          </p:cNvPr>
          <p:cNvSpPr/>
          <p:nvPr/>
        </p:nvSpPr>
        <p:spPr>
          <a:xfrm>
            <a:off x="5999106" y="1024887"/>
            <a:ext cx="17043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卡片字段配置</a:t>
            </a:r>
          </a:p>
        </p:txBody>
      </p:sp>
    </p:spTree>
    <p:extLst>
      <p:ext uri="{BB962C8B-B14F-4D97-AF65-F5344CB8AC3E}">
        <p14:creationId xmlns:p14="http://schemas.microsoft.com/office/powerpoint/2010/main" val="30337555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D34250E-F515-6C4E-BB41-9D7BDD16A9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0424" y="1417983"/>
            <a:ext cx="9363075" cy="4798695"/>
          </a:xfrm>
          <a:prstGeom prst="rect">
            <a:avLst/>
          </a:prstGeom>
        </p:spPr>
      </p:pic>
      <p:grpSp>
        <p:nvGrpSpPr>
          <p:cNvPr id="4" name="组合 3">
            <a:extLst>
              <a:ext uri="{FF2B5EF4-FFF2-40B4-BE49-F238E27FC236}">
                <a16:creationId xmlns:a16="http://schemas.microsoft.com/office/drawing/2014/main" id="{A3E145DA-5509-B946-B4C4-9CF22A2DE544}"/>
              </a:ext>
            </a:extLst>
          </p:cNvPr>
          <p:cNvGrpSpPr/>
          <p:nvPr/>
        </p:nvGrpSpPr>
        <p:grpSpPr>
          <a:xfrm>
            <a:off x="901964" y="1659918"/>
            <a:ext cx="8496935" cy="4549775"/>
            <a:chOff x="1113" y="2970"/>
            <a:chExt cx="13381" cy="7165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C45D9DE8-123A-804C-924D-394F8699297A}"/>
                </a:ext>
              </a:extLst>
            </p:cNvPr>
            <p:cNvSpPr/>
            <p:nvPr/>
          </p:nvSpPr>
          <p:spPr>
            <a:xfrm>
              <a:off x="1113" y="2970"/>
              <a:ext cx="2938" cy="6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配置工作流</a:t>
              </a:r>
            </a:p>
          </p:txBody>
        </p:sp>
        <p:sp>
          <p:nvSpPr>
            <p:cNvPr id="6" name="内容占位符 2">
              <a:extLst>
                <a:ext uri="{FF2B5EF4-FFF2-40B4-BE49-F238E27FC236}">
                  <a16:creationId xmlns:a16="http://schemas.microsoft.com/office/drawing/2014/main" id="{3D58C94A-5595-8642-89C7-FD392FE67FBB}"/>
                </a:ext>
              </a:extLst>
            </p:cNvPr>
            <p:cNvSpPr>
              <a:spLocks noGrp="1"/>
            </p:cNvSpPr>
            <p:nvPr/>
          </p:nvSpPr>
          <p:spPr>
            <a:xfrm>
              <a:off x="1113" y="3964"/>
              <a:ext cx="13381" cy="6171"/>
            </a:xfrm>
            <a:prstGeom prst="rect">
              <a:avLst/>
            </a:prstGeom>
          </p:spPr>
          <p:txBody>
            <a:bodyPr lIns="91422" tIns="45711" rIns="91422" bIns="45711">
              <a:noAutofit/>
            </a:bodyPr>
            <a:lstStyle>
              <a:lvl1pPr marL="259080" indent="-25908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0705" indent="-215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2pPr>
              <a:lvl3pPr marL="862965" indent="-17272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3pPr>
              <a:lvl4pPr marL="1207770" indent="-17272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4pPr>
              <a:lvl5pPr marL="1553210" indent="-17272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5pPr>
              <a:lvl6pPr marL="1898650" indent="-17272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243455" indent="-17272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588895" indent="-17272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933700" indent="-17272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“</a:t>
              </a:r>
              <a:r>
                <a:rPr lang="zh-CN" altLang="en-US" dirty="0">
                  <a:solidFill>
                    <a:srgbClr val="0432FF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流程状态</a:t>
              </a:r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”指的是卡片状态。</a:t>
              </a:r>
              <a:endPara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      每种卡片类型都有自己的状态规则，表示自己的生命周期中需要经历的阶段。</a:t>
              </a:r>
              <a:endPara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endPara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r>
                <a:rPr lang="zh-CN" altLang="en-US" dirty="0">
                  <a:solidFill>
                    <a:srgbClr val="0432FF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例如：</a:t>
              </a:r>
              <a:endParaRPr lang="en-US" altLang="zh-CN" sz="1600" dirty="0">
                <a:solidFill>
                  <a:srgbClr val="0432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endPara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endParaRPr lang="zh-CN" altLang="en-US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“</a:t>
              </a:r>
              <a:r>
                <a:rPr lang="zh-CN" altLang="en-US" dirty="0">
                  <a:solidFill>
                    <a:srgbClr val="0432FF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工作流</a:t>
              </a:r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”指的是卡片流经不同状态时的制约规则。</a:t>
              </a:r>
              <a:endPara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      每种卡片类型都有自己的状态规则，表示自己的生命周期中需要经历的阶段。</a:t>
              </a:r>
              <a:endPara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endParaRPr lang="en-US" alt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r>
                <a:rPr lang="zh-CN" altLang="en-US" dirty="0">
                  <a:solidFill>
                    <a:srgbClr val="0432FF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例如：</a:t>
              </a:r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我们不能将“开发中”的卡片直接设置为“已上线”，</a:t>
              </a:r>
              <a:endPara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r>
                <a:rPr lang="zh-CN" altLang="en-US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          因为所有开发工作都要经过验收和测试才能够上线。</a:t>
              </a:r>
              <a:endPara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indent="0">
                <a:buNone/>
              </a:pPr>
              <a:endPara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50B45BEA-8535-B24C-9C3B-6A7796650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09" y="5010"/>
              <a:ext cx="10241" cy="1380"/>
            </a:xfrm>
            <a:prstGeom prst="rect">
              <a:avLst/>
            </a:prstGeom>
          </p:spPr>
        </p:pic>
      </p:grpSp>
      <p:sp>
        <p:nvSpPr>
          <p:cNvPr id="8" name="标题 1">
            <a:extLst>
              <a:ext uri="{FF2B5EF4-FFF2-40B4-BE49-F238E27FC236}">
                <a16:creationId xmlns:a16="http://schemas.microsoft.com/office/drawing/2014/main" id="{CB4B22AF-1BAF-E346-9DBE-5A11F0A21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2</a:t>
            </a:r>
            <a:r>
              <a:rPr kumimoji="1" lang="zh-CN" altLang="en-US" sz="2000" dirty="0">
                <a:solidFill>
                  <a:schemeClr val="accent1"/>
                </a:solidFill>
              </a:rPr>
              <a:t> 空间配置</a:t>
            </a:r>
            <a:r>
              <a:rPr kumimoji="1" lang="en-US" altLang="zh-CN" sz="2000" dirty="0">
                <a:solidFill>
                  <a:schemeClr val="accent1"/>
                </a:solidFill>
              </a:rPr>
              <a:t>-</a:t>
            </a:r>
            <a:r>
              <a:rPr kumimoji="1" lang="zh-CN" altLang="en-US" sz="2000" dirty="0">
                <a:solidFill>
                  <a:schemeClr val="accent1"/>
                </a:solidFill>
              </a:rPr>
              <a:t>工作流配置</a:t>
            </a:r>
            <a:endParaRPr kumimoji="1"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406187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6CA027E-FE5F-E549-AC30-9DE4A8E942E4}"/>
              </a:ext>
            </a:extLst>
          </p:cNvPr>
          <p:cNvSpPr/>
          <p:nvPr/>
        </p:nvSpPr>
        <p:spPr>
          <a:xfrm>
            <a:off x="706656" y="1181179"/>
            <a:ext cx="2703830" cy="4298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配置状态自动流转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7565097-85FB-F248-81E1-7A66DAD613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755" y="1717235"/>
            <a:ext cx="8869680" cy="455168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8AA99481-6518-2A4A-A524-CC99B7B589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0625" y="2666560"/>
            <a:ext cx="1983105" cy="349123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9AEBC0E0-3D80-4543-A25D-EECDB1F435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5835" y="1222570"/>
            <a:ext cx="5313045" cy="194373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6ACC819-09A5-5D46-903E-F51329A2C5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5835" y="2937070"/>
            <a:ext cx="5189855" cy="173291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DAFA47B0-C9A7-2845-B266-9B666A6292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3315" y="4436940"/>
            <a:ext cx="4953635" cy="1844675"/>
          </a:xfrm>
          <a:prstGeom prst="rect">
            <a:avLst/>
          </a:prstGeom>
        </p:spPr>
      </p:pic>
      <p:sp>
        <p:nvSpPr>
          <p:cNvPr id="9" name="标题 1">
            <a:extLst>
              <a:ext uri="{FF2B5EF4-FFF2-40B4-BE49-F238E27FC236}">
                <a16:creationId xmlns:a16="http://schemas.microsoft.com/office/drawing/2014/main" id="{FFF20547-BAEB-5440-BDD5-34CD5E83A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2</a:t>
            </a:r>
            <a:r>
              <a:rPr kumimoji="1" lang="zh-CN" altLang="en-US" sz="2000" dirty="0">
                <a:solidFill>
                  <a:schemeClr val="accent1"/>
                </a:solidFill>
              </a:rPr>
              <a:t> 空间配置</a:t>
            </a:r>
            <a:r>
              <a:rPr kumimoji="1" lang="en-US" altLang="zh-CN" sz="2000" dirty="0">
                <a:solidFill>
                  <a:schemeClr val="accent1"/>
                </a:solidFill>
              </a:rPr>
              <a:t>-</a:t>
            </a:r>
            <a:r>
              <a:rPr kumimoji="1" lang="zh-CN" altLang="en-US" sz="2000" dirty="0">
                <a:solidFill>
                  <a:schemeClr val="accent1"/>
                </a:solidFill>
              </a:rPr>
              <a:t>状态自动流转</a:t>
            </a:r>
            <a:endParaRPr kumimoji="1"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4070831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CD796E38-7CCF-5D4C-BF06-4E59D8FD3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2</a:t>
            </a:r>
            <a:r>
              <a:rPr kumimoji="1" lang="zh-CN" altLang="en-US" sz="2000" dirty="0">
                <a:solidFill>
                  <a:schemeClr val="accent1"/>
                </a:solidFill>
              </a:rPr>
              <a:t> 空间配置</a:t>
            </a:r>
            <a:r>
              <a:rPr kumimoji="1" lang="en-US" altLang="zh-CN" sz="2000" dirty="0">
                <a:solidFill>
                  <a:schemeClr val="accent1"/>
                </a:solidFill>
              </a:rPr>
              <a:t>-</a:t>
            </a:r>
            <a:r>
              <a:rPr kumimoji="1" lang="zh-CN" altLang="en-US" sz="2000" dirty="0">
                <a:solidFill>
                  <a:schemeClr val="accent1"/>
                </a:solidFill>
              </a:rPr>
              <a:t>设置需求模板</a:t>
            </a:r>
            <a:endParaRPr kumimoji="1" lang="zh-CN" altLang="en-US" sz="2000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69C2726-4A6D-CE45-80FD-080B8F4D71A7}"/>
              </a:ext>
            </a:extLst>
          </p:cNvPr>
          <p:cNvSpPr/>
          <p:nvPr/>
        </p:nvSpPr>
        <p:spPr>
          <a:xfrm>
            <a:off x="800590" y="1096752"/>
            <a:ext cx="4427220" cy="101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新建模板</a:t>
            </a:r>
            <a:endParaRPr lang="zh-CN" altLang="en-US" sz="20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688340" lvl="1" indent="-342900" algn="l">
              <a:buFont typeface="Arial" panose="020B0604020202090204" pitchFamily="34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字段的默认值，内容的模板</a:t>
            </a:r>
            <a:endParaRPr lang="zh-CN" altLang="en-US" sz="20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zh-CN" altLang="en-US" sz="20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06EA233-0165-2144-8B43-AFF6AAC658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7810" y="1680952"/>
            <a:ext cx="6952615" cy="444563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48705DB0-0142-EA45-80C1-4BC4330239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580" y="2410567"/>
            <a:ext cx="5247005" cy="250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3896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178F8D29-94BD-8349-B97B-1BB1220D413D}"/>
              </a:ext>
            </a:extLst>
          </p:cNvPr>
          <p:cNvSpPr/>
          <p:nvPr/>
        </p:nvSpPr>
        <p:spPr>
          <a:xfrm>
            <a:off x="696382" y="1242458"/>
            <a:ext cx="5780405" cy="9836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级联配置</a:t>
            </a:r>
            <a:endParaRPr lang="zh-CN" altLang="en-US" sz="20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688340" lvl="1" indent="-342900" algn="l">
              <a:buFont typeface="Arial" panose="020B0604020202090204" pitchFamily="34" charset="0"/>
              <a:buChar char="•"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字段是下拉、单选、复选或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Tag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树时可配置级联</a:t>
            </a:r>
            <a:endParaRPr lang="zh-CN" altLang="en-US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688340" lvl="1" indent="-342900" algn="l">
              <a:buFont typeface="Arial" panose="020B0604020202090204" pitchFamily="34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根据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A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字段选项值的不同，自动影响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B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字段的取值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1D5B11B-C8E5-4E42-A37B-E69EF0B5EF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061" y="4435989"/>
            <a:ext cx="10763250" cy="2011045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DE1CBA5-D7FD-244C-A546-2CEEFD4A75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571" y="2546864"/>
            <a:ext cx="10984865" cy="1647190"/>
          </a:xfrm>
          <a:prstGeom prst="rect">
            <a:avLst/>
          </a:prstGeom>
        </p:spPr>
      </p:pic>
      <p:sp>
        <p:nvSpPr>
          <p:cNvPr id="6" name="标题 1">
            <a:extLst>
              <a:ext uri="{FF2B5EF4-FFF2-40B4-BE49-F238E27FC236}">
                <a16:creationId xmlns:a16="http://schemas.microsoft.com/office/drawing/2014/main" id="{5B2956D7-3D6F-274B-908F-6B2D5CFB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2</a:t>
            </a:r>
            <a:r>
              <a:rPr kumimoji="1" lang="zh-CN" altLang="en-US" sz="2000" dirty="0">
                <a:solidFill>
                  <a:schemeClr val="accent1"/>
                </a:solidFill>
              </a:rPr>
              <a:t> 空间配置</a:t>
            </a:r>
            <a:r>
              <a:rPr kumimoji="1" lang="en-US" altLang="zh-CN" sz="2000" dirty="0">
                <a:solidFill>
                  <a:schemeClr val="accent1"/>
                </a:solidFill>
              </a:rPr>
              <a:t>-</a:t>
            </a:r>
            <a:r>
              <a:rPr kumimoji="1" lang="zh-CN" altLang="en-US" sz="2000" dirty="0">
                <a:solidFill>
                  <a:schemeClr val="accent1"/>
                </a:solidFill>
              </a:rPr>
              <a:t>级联配置</a:t>
            </a:r>
            <a:endParaRPr kumimoji="1"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6081864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47DFF3EA-5084-AC49-9263-6173F03A5D9D}"/>
              </a:ext>
            </a:extLst>
          </p:cNvPr>
          <p:cNvGrpSpPr/>
          <p:nvPr/>
        </p:nvGrpSpPr>
        <p:grpSpPr>
          <a:xfrm>
            <a:off x="1744345" y="2160295"/>
            <a:ext cx="9946640" cy="4159250"/>
            <a:chOff x="2747" y="3886"/>
            <a:chExt cx="15664" cy="6550"/>
          </a:xfrm>
        </p:grpSpPr>
        <p:pic>
          <p:nvPicPr>
            <p:cNvPr id="4" name="图片 3">
              <a:extLst>
                <a:ext uri="{FF2B5EF4-FFF2-40B4-BE49-F238E27FC236}">
                  <a16:creationId xmlns:a16="http://schemas.microsoft.com/office/drawing/2014/main" id="{B8A6096E-1653-364E-B625-ED6E9BC68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21" y="4488"/>
              <a:ext cx="9690" cy="4998"/>
            </a:xfrm>
            <a:prstGeom prst="rect">
              <a:avLst/>
            </a:prstGeom>
          </p:spPr>
        </p:pic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8141496D-409A-BC46-B302-D332D8726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47" y="3886"/>
              <a:ext cx="5831" cy="6551"/>
            </a:xfrm>
            <a:prstGeom prst="rect">
              <a:avLst/>
            </a:prstGeom>
          </p:spPr>
        </p:pic>
      </p:grpSp>
      <p:sp>
        <p:nvSpPr>
          <p:cNvPr id="6" name="矩形 5">
            <a:extLst>
              <a:ext uri="{FF2B5EF4-FFF2-40B4-BE49-F238E27FC236}">
                <a16:creationId xmlns:a16="http://schemas.microsoft.com/office/drawing/2014/main" id="{C16E1CEF-40E7-B94F-9D5B-1D7FC40BCFA7}"/>
              </a:ext>
            </a:extLst>
          </p:cNvPr>
          <p:cNvSpPr/>
          <p:nvPr/>
        </p:nvSpPr>
        <p:spPr>
          <a:xfrm>
            <a:off x="551716" y="1208949"/>
            <a:ext cx="4986020" cy="9836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消息规则</a:t>
            </a:r>
            <a:endParaRPr lang="zh-CN" altLang="en-US" sz="20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688340" lvl="1" indent="-342900" algn="l">
              <a:buFont typeface="Arial" panose="020B0604020202090204" pitchFamily="34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团队消息规则：通知什么消息、通知给谁</a:t>
            </a:r>
            <a:endParaRPr lang="zh-CN" altLang="en-US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688340" lvl="1" indent="-342900" algn="l">
              <a:buFont typeface="Arial" panose="020B0604020202090204" pitchFamily="34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个人消息规则：怎么接收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CE94020-EC42-1544-8B05-7257DE26F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3855" y="2300630"/>
            <a:ext cx="7382510" cy="3602355"/>
          </a:xfrm>
          <a:prstGeom prst="rect">
            <a:avLst/>
          </a:prstGeom>
        </p:spPr>
      </p:pic>
      <p:sp>
        <p:nvSpPr>
          <p:cNvPr id="8" name="标题 1">
            <a:extLst>
              <a:ext uri="{FF2B5EF4-FFF2-40B4-BE49-F238E27FC236}">
                <a16:creationId xmlns:a16="http://schemas.microsoft.com/office/drawing/2014/main" id="{39D2BE29-C915-4C40-8509-43734DB0B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2</a:t>
            </a:r>
            <a:r>
              <a:rPr kumimoji="1" lang="zh-CN" altLang="en-US" sz="2000" dirty="0">
                <a:solidFill>
                  <a:schemeClr val="accent1"/>
                </a:solidFill>
              </a:rPr>
              <a:t> 空间配置</a:t>
            </a:r>
            <a:r>
              <a:rPr kumimoji="1" lang="en-US" altLang="zh-CN" sz="2000" dirty="0">
                <a:solidFill>
                  <a:schemeClr val="accent1"/>
                </a:solidFill>
              </a:rPr>
              <a:t>-</a:t>
            </a:r>
            <a:r>
              <a:rPr kumimoji="1" lang="zh-CN" altLang="en-US" sz="2000" dirty="0">
                <a:solidFill>
                  <a:schemeClr val="accent1"/>
                </a:solidFill>
              </a:rPr>
              <a:t>消息规则</a:t>
            </a:r>
            <a:endParaRPr kumimoji="1"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627601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CBC536C6-10B8-A846-8013-DA53F0F28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3</a:t>
            </a:r>
            <a:r>
              <a:rPr kumimoji="1" lang="zh-CN" altLang="en-US" sz="2000" dirty="0">
                <a:solidFill>
                  <a:schemeClr val="accent1"/>
                </a:solidFill>
              </a:rPr>
              <a:t> 产品规划</a:t>
            </a:r>
            <a:endParaRPr kumimoji="1" lang="zh-CN" altLang="en-US" sz="2000" dirty="0"/>
          </a:p>
        </p:txBody>
      </p:sp>
      <p:grpSp>
        <p:nvGrpSpPr>
          <p:cNvPr id="139" name="组合 138">
            <a:extLst>
              <a:ext uri="{FF2B5EF4-FFF2-40B4-BE49-F238E27FC236}">
                <a16:creationId xmlns:a16="http://schemas.microsoft.com/office/drawing/2014/main" id="{48B3E69C-3DCE-B840-B2D4-A3E10B1D4A08}"/>
              </a:ext>
            </a:extLst>
          </p:cNvPr>
          <p:cNvGrpSpPr/>
          <p:nvPr/>
        </p:nvGrpSpPr>
        <p:grpSpPr>
          <a:xfrm>
            <a:off x="479272" y="1368657"/>
            <a:ext cx="10517505" cy="4982210"/>
            <a:chOff x="647" y="2970"/>
            <a:chExt cx="16563" cy="7846"/>
          </a:xfrm>
        </p:grpSpPr>
        <p:sp>
          <p:nvSpPr>
            <p:cNvPr id="140" name="矩形 139">
              <a:extLst>
                <a:ext uri="{FF2B5EF4-FFF2-40B4-BE49-F238E27FC236}">
                  <a16:creationId xmlns:a16="http://schemas.microsoft.com/office/drawing/2014/main" id="{06BD556F-7B14-4540-9889-A055219E8873}"/>
                </a:ext>
              </a:extLst>
            </p:cNvPr>
            <p:cNvSpPr/>
            <p:nvPr/>
          </p:nvSpPr>
          <p:spPr>
            <a:xfrm>
              <a:off x="647" y="2970"/>
              <a:ext cx="9139" cy="6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产品规划的案例</a:t>
              </a:r>
              <a:r>
                <a:rPr lang="en-US" altLang="zh-CN" sz="2200" dirty="0"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—outlook</a:t>
              </a:r>
              <a:r>
                <a:rPr lang="zh-CN" altLang="en-US" sz="2200" dirty="0">
                  <a:latin typeface="微软雅黑" charset="0"/>
                  <a:ea typeface="微软雅黑" charset="0"/>
                  <a:cs typeface="微软雅黑" charset="0"/>
                  <a:sym typeface="+mn-ea"/>
                </a:rPr>
                <a:t>邮件系统</a:t>
              </a:r>
              <a:endParaRPr lang="zh-CN" altLang="en-US" sz="2200" dirty="0">
                <a:solidFill>
                  <a:prstClr val="black"/>
                </a:solidFill>
                <a:latin typeface="微软雅黑" charset="0"/>
                <a:ea typeface="微软雅黑" charset="0"/>
                <a:cs typeface="微软雅黑" charset="0"/>
                <a:sym typeface="+mn-ea"/>
              </a:endParaRPr>
            </a:p>
          </p:txBody>
        </p:sp>
        <p:pic>
          <p:nvPicPr>
            <p:cNvPr id="141" name="图片 140">
              <a:extLst>
                <a:ext uri="{FF2B5EF4-FFF2-40B4-BE49-F238E27FC236}">
                  <a16:creationId xmlns:a16="http://schemas.microsoft.com/office/drawing/2014/main" id="{8E5CE9D2-3F9A-4844-A709-96F0D88E3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15" y="3598"/>
              <a:ext cx="15595" cy="7218"/>
            </a:xfrm>
            <a:prstGeom prst="rect">
              <a:avLst/>
            </a:prstGeom>
          </p:spPr>
        </p:pic>
      </p:grpSp>
      <p:grpSp>
        <p:nvGrpSpPr>
          <p:cNvPr id="142" name="组合 141">
            <a:extLst>
              <a:ext uri="{FF2B5EF4-FFF2-40B4-BE49-F238E27FC236}">
                <a16:creationId xmlns:a16="http://schemas.microsoft.com/office/drawing/2014/main" id="{3407DFAF-D596-7448-BB64-5F649BFF1B41}"/>
              </a:ext>
            </a:extLst>
          </p:cNvPr>
          <p:cNvGrpSpPr/>
          <p:nvPr/>
        </p:nvGrpSpPr>
        <p:grpSpPr>
          <a:xfrm>
            <a:off x="482447" y="1386437"/>
            <a:ext cx="9923780" cy="4536594"/>
            <a:chOff x="647" y="2848"/>
            <a:chExt cx="15628" cy="7144"/>
          </a:xfrm>
        </p:grpSpPr>
        <p:sp>
          <p:nvSpPr>
            <p:cNvPr id="143" name="矩形 142">
              <a:extLst>
                <a:ext uri="{FF2B5EF4-FFF2-40B4-BE49-F238E27FC236}">
                  <a16:creationId xmlns:a16="http://schemas.microsoft.com/office/drawing/2014/main" id="{65012763-E869-314A-9653-33A2B480D21F}"/>
                </a:ext>
              </a:extLst>
            </p:cNvPr>
            <p:cNvSpPr/>
            <p:nvPr/>
          </p:nvSpPr>
          <p:spPr>
            <a:xfrm>
              <a:off x="647" y="2848"/>
              <a:ext cx="7094" cy="6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l"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产品规划是什么</a:t>
              </a:r>
            </a:p>
          </p:txBody>
        </p:sp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7AE0793A-4F5A-E04E-8881-2EA355D2AB44}"/>
                </a:ext>
              </a:extLst>
            </p:cNvPr>
            <p:cNvGrpSpPr/>
            <p:nvPr/>
          </p:nvGrpSpPr>
          <p:grpSpPr>
            <a:xfrm>
              <a:off x="3158" y="3325"/>
              <a:ext cx="13117" cy="6667"/>
              <a:chOff x="1200" y="1890"/>
              <a:chExt cx="12045" cy="6122"/>
            </a:xfrm>
          </p:grpSpPr>
          <p:grpSp>
            <p:nvGrpSpPr>
              <p:cNvPr id="145" name="组合 3">
                <a:extLst>
                  <a:ext uri="{FF2B5EF4-FFF2-40B4-BE49-F238E27FC236}">
                    <a16:creationId xmlns:a16="http://schemas.microsoft.com/office/drawing/2014/main" id="{DBE51F4A-B4C6-814C-BE0E-9ED9F5E533C1}"/>
                  </a:ext>
                </a:extLst>
              </p:cNvPr>
              <p:cNvGrpSpPr/>
              <p:nvPr/>
            </p:nvGrpSpPr>
            <p:grpSpPr>
              <a:xfrm>
                <a:off x="2581" y="2344"/>
                <a:ext cx="251" cy="426"/>
                <a:chOff x="5424672" y="3786526"/>
                <a:chExt cx="171091" cy="267725"/>
              </a:xfrm>
            </p:grpSpPr>
            <p:sp>
              <p:nvSpPr>
                <p:cNvPr id="225" name="AutoShape 20">
                  <a:extLst>
                    <a:ext uri="{FF2B5EF4-FFF2-40B4-BE49-F238E27FC236}">
                      <a16:creationId xmlns:a16="http://schemas.microsoft.com/office/drawing/2014/main" id="{3BE5883F-4ED5-1143-9F93-4D7ECC024FEE}"/>
                    </a:ext>
                  </a:extLst>
                </p:cNvPr>
                <p:cNvSpPr/>
                <p:nvPr/>
              </p:nvSpPr>
              <p:spPr bwMode="auto">
                <a:xfrm>
                  <a:off x="5424672" y="3869853"/>
                  <a:ext cx="171091" cy="184398"/>
                </a:xfrm>
                <a:prstGeom prst="pentagon">
                  <a:avLst/>
                </a:prstGeom>
                <a:solidFill>
                  <a:srgbClr val="8B8D31"/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2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Oval 21">
                  <a:extLst>
                    <a:ext uri="{FF2B5EF4-FFF2-40B4-BE49-F238E27FC236}">
                      <a16:creationId xmlns:a16="http://schemas.microsoft.com/office/drawing/2014/main" id="{21668695-20C3-7249-9FCC-B548C107D22F}"/>
                    </a:ext>
                  </a:extLst>
                </p:cNvPr>
                <p:cNvSpPr/>
                <p:nvPr/>
              </p:nvSpPr>
              <p:spPr bwMode="auto">
                <a:xfrm>
                  <a:off x="5437176" y="3786526"/>
                  <a:ext cx="151223" cy="120902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dist="25399" dir="2700000" algn="ctr" rotWithShape="0">
                    <a:schemeClr val="bg2">
                      <a:alpha val="75000"/>
                    </a:schemeClr>
                  </a:outerShdw>
                </a:effectLst>
              </p:spPr>
              <p:txBody>
                <a:bodyPr lIns="0" tIns="0" rIns="0" bIns="0"/>
                <a:lstStyle/>
                <a:p>
                  <a:pPr algn="ctr"/>
                  <a:endParaRPr lang="zh-CN" altLang="en-US" sz="12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46" name="矩形 145">
                <a:extLst>
                  <a:ext uri="{FF2B5EF4-FFF2-40B4-BE49-F238E27FC236}">
                    <a16:creationId xmlns:a16="http://schemas.microsoft.com/office/drawing/2014/main" id="{408F1C85-9A06-2745-AC2A-041CC9989720}"/>
                  </a:ext>
                </a:extLst>
              </p:cNvPr>
              <p:cNvSpPr/>
              <p:nvPr/>
            </p:nvSpPr>
            <p:spPr>
              <a:xfrm>
                <a:off x="2601" y="2832"/>
                <a:ext cx="1111" cy="455"/>
              </a:xfrm>
              <a:prstGeom prst="rect">
                <a:avLst/>
              </a:prstGeom>
              <a:solidFill>
                <a:srgbClr val="E46C0A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7" name="矩形 146">
                <a:extLst>
                  <a:ext uri="{FF2B5EF4-FFF2-40B4-BE49-F238E27FC236}">
                    <a16:creationId xmlns:a16="http://schemas.microsoft.com/office/drawing/2014/main" id="{7DEC6B3E-6499-2C44-A625-3D46238F7548}"/>
                  </a:ext>
                </a:extLst>
              </p:cNvPr>
              <p:cNvSpPr/>
              <p:nvPr/>
            </p:nvSpPr>
            <p:spPr>
              <a:xfrm>
                <a:off x="4503" y="2830"/>
                <a:ext cx="1111" cy="455"/>
              </a:xfrm>
              <a:prstGeom prst="rect">
                <a:avLst/>
              </a:prstGeom>
              <a:solidFill>
                <a:srgbClr val="E46C0A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8" name="矩形 147">
                <a:extLst>
                  <a:ext uri="{FF2B5EF4-FFF2-40B4-BE49-F238E27FC236}">
                    <a16:creationId xmlns:a16="http://schemas.microsoft.com/office/drawing/2014/main" id="{01068D2D-2B7C-AC42-A963-0256AA96C69A}"/>
                  </a:ext>
                </a:extLst>
              </p:cNvPr>
              <p:cNvSpPr/>
              <p:nvPr/>
            </p:nvSpPr>
            <p:spPr>
              <a:xfrm>
                <a:off x="7392" y="2830"/>
                <a:ext cx="1111" cy="455"/>
              </a:xfrm>
              <a:prstGeom prst="rect">
                <a:avLst/>
              </a:prstGeom>
              <a:solidFill>
                <a:srgbClr val="E46C0A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9" name="矩形 148">
                <a:extLst>
                  <a:ext uri="{FF2B5EF4-FFF2-40B4-BE49-F238E27FC236}">
                    <a16:creationId xmlns:a16="http://schemas.microsoft.com/office/drawing/2014/main" id="{5E6CD6EB-4CF7-1E43-9640-F778B6F99EE9}"/>
                  </a:ext>
                </a:extLst>
              </p:cNvPr>
              <p:cNvSpPr/>
              <p:nvPr/>
            </p:nvSpPr>
            <p:spPr>
              <a:xfrm>
                <a:off x="9296" y="2830"/>
                <a:ext cx="1111" cy="455"/>
              </a:xfrm>
              <a:prstGeom prst="rect">
                <a:avLst/>
              </a:prstGeom>
              <a:solidFill>
                <a:srgbClr val="E46C0A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0" name="矩形 149">
                <a:extLst>
                  <a:ext uri="{FF2B5EF4-FFF2-40B4-BE49-F238E27FC236}">
                    <a16:creationId xmlns:a16="http://schemas.microsoft.com/office/drawing/2014/main" id="{0A9B0FCE-47D0-5447-8035-3714D949601C}"/>
                  </a:ext>
                </a:extLst>
              </p:cNvPr>
              <p:cNvSpPr/>
              <p:nvPr/>
            </p:nvSpPr>
            <p:spPr>
              <a:xfrm>
                <a:off x="2101" y="3651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1" name="矩形 150">
                <a:extLst>
                  <a:ext uri="{FF2B5EF4-FFF2-40B4-BE49-F238E27FC236}">
                    <a16:creationId xmlns:a16="http://schemas.microsoft.com/office/drawing/2014/main" id="{2BF15E53-BC7E-2547-9621-B9F85032DBBE}"/>
                  </a:ext>
                </a:extLst>
              </p:cNvPr>
              <p:cNvSpPr/>
              <p:nvPr/>
            </p:nvSpPr>
            <p:spPr>
              <a:xfrm>
                <a:off x="3052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2" name="矩形 151">
                <a:extLst>
                  <a:ext uri="{FF2B5EF4-FFF2-40B4-BE49-F238E27FC236}">
                    <a16:creationId xmlns:a16="http://schemas.microsoft.com/office/drawing/2014/main" id="{B67E50E9-2F44-0142-A35A-95CA2935FF22}"/>
                  </a:ext>
                </a:extLst>
              </p:cNvPr>
              <p:cNvSpPr/>
              <p:nvPr/>
            </p:nvSpPr>
            <p:spPr>
              <a:xfrm>
                <a:off x="4003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3" name="矩形 152">
                <a:extLst>
                  <a:ext uri="{FF2B5EF4-FFF2-40B4-BE49-F238E27FC236}">
                    <a16:creationId xmlns:a16="http://schemas.microsoft.com/office/drawing/2014/main" id="{6BC45E17-43B3-FF42-9430-B945C710A379}"/>
                  </a:ext>
                </a:extLst>
              </p:cNvPr>
              <p:cNvSpPr/>
              <p:nvPr/>
            </p:nvSpPr>
            <p:spPr>
              <a:xfrm>
                <a:off x="4954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4" name="矩形 153">
                <a:extLst>
                  <a:ext uri="{FF2B5EF4-FFF2-40B4-BE49-F238E27FC236}">
                    <a16:creationId xmlns:a16="http://schemas.microsoft.com/office/drawing/2014/main" id="{9B6056BA-BD75-8844-BA30-6F287E4336F1}"/>
                  </a:ext>
                </a:extLst>
              </p:cNvPr>
              <p:cNvSpPr/>
              <p:nvPr/>
            </p:nvSpPr>
            <p:spPr>
              <a:xfrm>
                <a:off x="5905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5" name="矩形 154">
                <a:extLst>
                  <a:ext uri="{FF2B5EF4-FFF2-40B4-BE49-F238E27FC236}">
                    <a16:creationId xmlns:a16="http://schemas.microsoft.com/office/drawing/2014/main" id="{6723BC0E-2AC2-094E-8CA4-EE2542409A1E}"/>
                  </a:ext>
                </a:extLst>
              </p:cNvPr>
              <p:cNvSpPr/>
              <p:nvPr/>
            </p:nvSpPr>
            <p:spPr>
              <a:xfrm>
                <a:off x="6894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矩形 155">
                <a:extLst>
                  <a:ext uri="{FF2B5EF4-FFF2-40B4-BE49-F238E27FC236}">
                    <a16:creationId xmlns:a16="http://schemas.microsoft.com/office/drawing/2014/main" id="{9918FD32-017E-B740-A73A-5DCBCC0B7858}"/>
                  </a:ext>
                </a:extLst>
              </p:cNvPr>
              <p:cNvSpPr/>
              <p:nvPr/>
            </p:nvSpPr>
            <p:spPr>
              <a:xfrm>
                <a:off x="7845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矩形 156">
                <a:extLst>
                  <a:ext uri="{FF2B5EF4-FFF2-40B4-BE49-F238E27FC236}">
                    <a16:creationId xmlns:a16="http://schemas.microsoft.com/office/drawing/2014/main" id="{BB1585F4-B3C9-AD43-81AE-F1AEEA132043}"/>
                  </a:ext>
                </a:extLst>
              </p:cNvPr>
              <p:cNvSpPr/>
              <p:nvPr/>
            </p:nvSpPr>
            <p:spPr>
              <a:xfrm>
                <a:off x="8796" y="3668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矩形 157">
                <a:extLst>
                  <a:ext uri="{FF2B5EF4-FFF2-40B4-BE49-F238E27FC236}">
                    <a16:creationId xmlns:a16="http://schemas.microsoft.com/office/drawing/2014/main" id="{17D74B62-2319-F940-A4FE-C3FCB6B56237}"/>
                  </a:ext>
                </a:extLst>
              </p:cNvPr>
              <p:cNvSpPr/>
              <p:nvPr/>
            </p:nvSpPr>
            <p:spPr>
              <a:xfrm>
                <a:off x="9747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9" name="矩形 158">
                <a:extLst>
                  <a:ext uri="{FF2B5EF4-FFF2-40B4-BE49-F238E27FC236}">
                    <a16:creationId xmlns:a16="http://schemas.microsoft.com/office/drawing/2014/main" id="{09D418B4-3B61-6443-9AD1-4874049168BD}"/>
                  </a:ext>
                </a:extLst>
              </p:cNvPr>
              <p:cNvSpPr/>
              <p:nvPr/>
            </p:nvSpPr>
            <p:spPr>
              <a:xfrm>
                <a:off x="10715" y="3666"/>
                <a:ext cx="817" cy="375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矩形 159">
                <a:extLst>
                  <a:ext uri="{FF2B5EF4-FFF2-40B4-BE49-F238E27FC236}">
                    <a16:creationId xmlns:a16="http://schemas.microsoft.com/office/drawing/2014/main" id="{7FBCCB50-46D8-424E-BFED-A6D6A47CA3EE}"/>
                  </a:ext>
                </a:extLst>
              </p:cNvPr>
              <p:cNvSpPr/>
              <p:nvPr/>
            </p:nvSpPr>
            <p:spPr>
              <a:xfrm>
                <a:off x="2101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矩形 160">
                <a:extLst>
                  <a:ext uri="{FF2B5EF4-FFF2-40B4-BE49-F238E27FC236}">
                    <a16:creationId xmlns:a16="http://schemas.microsoft.com/office/drawing/2014/main" id="{8D401D25-6F1B-A943-8C1E-8AB598877FC1}"/>
                  </a:ext>
                </a:extLst>
              </p:cNvPr>
              <p:cNvSpPr/>
              <p:nvPr/>
            </p:nvSpPr>
            <p:spPr>
              <a:xfrm>
                <a:off x="2101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矩形 161">
                <a:extLst>
                  <a:ext uri="{FF2B5EF4-FFF2-40B4-BE49-F238E27FC236}">
                    <a16:creationId xmlns:a16="http://schemas.microsoft.com/office/drawing/2014/main" id="{C72F3C9B-F79C-CF40-A2DB-1EC220AC881C}"/>
                  </a:ext>
                </a:extLst>
              </p:cNvPr>
              <p:cNvSpPr/>
              <p:nvPr/>
            </p:nvSpPr>
            <p:spPr>
              <a:xfrm>
                <a:off x="2101" y="5697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3" name="矩形 162">
                <a:extLst>
                  <a:ext uri="{FF2B5EF4-FFF2-40B4-BE49-F238E27FC236}">
                    <a16:creationId xmlns:a16="http://schemas.microsoft.com/office/drawing/2014/main" id="{EBFD7249-5B5F-FE4D-A34C-23E06912DF25}"/>
                  </a:ext>
                </a:extLst>
              </p:cNvPr>
              <p:cNvSpPr/>
              <p:nvPr/>
            </p:nvSpPr>
            <p:spPr>
              <a:xfrm>
                <a:off x="2101" y="6195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4" name="矩形 163">
                <a:extLst>
                  <a:ext uri="{FF2B5EF4-FFF2-40B4-BE49-F238E27FC236}">
                    <a16:creationId xmlns:a16="http://schemas.microsoft.com/office/drawing/2014/main" id="{856DC551-E712-E14F-AEFE-6B780FE98894}"/>
                  </a:ext>
                </a:extLst>
              </p:cNvPr>
              <p:cNvSpPr/>
              <p:nvPr/>
            </p:nvSpPr>
            <p:spPr>
              <a:xfrm>
                <a:off x="2101" y="718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5" name="矩形 164">
                <a:extLst>
                  <a:ext uri="{FF2B5EF4-FFF2-40B4-BE49-F238E27FC236}">
                    <a16:creationId xmlns:a16="http://schemas.microsoft.com/office/drawing/2014/main" id="{10EF23BB-A314-2448-A4EE-386A22CF96FE}"/>
                  </a:ext>
                </a:extLst>
              </p:cNvPr>
              <p:cNvSpPr/>
              <p:nvPr/>
            </p:nvSpPr>
            <p:spPr>
              <a:xfrm>
                <a:off x="2101" y="768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6" name="矩形 165">
                <a:extLst>
                  <a:ext uri="{FF2B5EF4-FFF2-40B4-BE49-F238E27FC236}">
                    <a16:creationId xmlns:a16="http://schemas.microsoft.com/office/drawing/2014/main" id="{964AF936-CD56-784B-8138-EA2C6C1419E0}"/>
                  </a:ext>
                </a:extLst>
              </p:cNvPr>
              <p:cNvSpPr/>
              <p:nvPr/>
            </p:nvSpPr>
            <p:spPr>
              <a:xfrm>
                <a:off x="3052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矩形 166">
                <a:extLst>
                  <a:ext uri="{FF2B5EF4-FFF2-40B4-BE49-F238E27FC236}">
                    <a16:creationId xmlns:a16="http://schemas.microsoft.com/office/drawing/2014/main" id="{3DC169E3-5466-D74D-A3B2-3728C857D926}"/>
                  </a:ext>
                </a:extLst>
              </p:cNvPr>
              <p:cNvSpPr/>
              <p:nvPr/>
            </p:nvSpPr>
            <p:spPr>
              <a:xfrm>
                <a:off x="3052" y="570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8" name="矩形 167">
                <a:extLst>
                  <a:ext uri="{FF2B5EF4-FFF2-40B4-BE49-F238E27FC236}">
                    <a16:creationId xmlns:a16="http://schemas.microsoft.com/office/drawing/2014/main" id="{99D55551-5A86-6842-8890-ECA20DA7F2B7}"/>
                  </a:ext>
                </a:extLst>
              </p:cNvPr>
              <p:cNvSpPr/>
              <p:nvPr/>
            </p:nvSpPr>
            <p:spPr>
              <a:xfrm>
                <a:off x="3052" y="7194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9" name="矩形 168">
                <a:extLst>
                  <a:ext uri="{FF2B5EF4-FFF2-40B4-BE49-F238E27FC236}">
                    <a16:creationId xmlns:a16="http://schemas.microsoft.com/office/drawing/2014/main" id="{009A999B-B8E4-5B4F-B4A9-34C95896BF9C}"/>
                  </a:ext>
                </a:extLst>
              </p:cNvPr>
              <p:cNvSpPr/>
              <p:nvPr/>
            </p:nvSpPr>
            <p:spPr>
              <a:xfrm>
                <a:off x="4003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矩形 169">
                <a:extLst>
                  <a:ext uri="{FF2B5EF4-FFF2-40B4-BE49-F238E27FC236}">
                    <a16:creationId xmlns:a16="http://schemas.microsoft.com/office/drawing/2014/main" id="{960BC535-AE0C-934D-8768-B1E47DE29518}"/>
                  </a:ext>
                </a:extLst>
              </p:cNvPr>
              <p:cNvSpPr/>
              <p:nvPr/>
            </p:nvSpPr>
            <p:spPr>
              <a:xfrm>
                <a:off x="4003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1" name="矩形 170">
                <a:extLst>
                  <a:ext uri="{FF2B5EF4-FFF2-40B4-BE49-F238E27FC236}">
                    <a16:creationId xmlns:a16="http://schemas.microsoft.com/office/drawing/2014/main" id="{FE3D67FF-6483-2F44-B52D-4C4A17359C30}"/>
                  </a:ext>
                </a:extLst>
              </p:cNvPr>
              <p:cNvSpPr/>
              <p:nvPr/>
            </p:nvSpPr>
            <p:spPr>
              <a:xfrm>
                <a:off x="4003" y="56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2" name="矩形 171">
                <a:extLst>
                  <a:ext uri="{FF2B5EF4-FFF2-40B4-BE49-F238E27FC236}">
                    <a16:creationId xmlns:a16="http://schemas.microsoft.com/office/drawing/2014/main" id="{F4640B07-601D-B84E-82B4-F8CF46193736}"/>
                  </a:ext>
                </a:extLst>
              </p:cNvPr>
              <p:cNvSpPr/>
              <p:nvPr/>
            </p:nvSpPr>
            <p:spPr>
              <a:xfrm>
                <a:off x="4003" y="61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3" name="矩形 172">
                <a:extLst>
                  <a:ext uri="{FF2B5EF4-FFF2-40B4-BE49-F238E27FC236}">
                    <a16:creationId xmlns:a16="http://schemas.microsoft.com/office/drawing/2014/main" id="{7BC50CED-DD5A-8A40-8AE4-86763EAE90FA}"/>
                  </a:ext>
                </a:extLst>
              </p:cNvPr>
              <p:cNvSpPr/>
              <p:nvPr/>
            </p:nvSpPr>
            <p:spPr>
              <a:xfrm>
                <a:off x="4003" y="7194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4" name="矩形 173">
                <a:extLst>
                  <a:ext uri="{FF2B5EF4-FFF2-40B4-BE49-F238E27FC236}">
                    <a16:creationId xmlns:a16="http://schemas.microsoft.com/office/drawing/2014/main" id="{23E6AC0B-E1B1-8F44-8BC5-1B7478BAFFBF}"/>
                  </a:ext>
                </a:extLst>
              </p:cNvPr>
              <p:cNvSpPr/>
              <p:nvPr/>
            </p:nvSpPr>
            <p:spPr>
              <a:xfrm>
                <a:off x="4964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5" name="矩形 174">
                <a:extLst>
                  <a:ext uri="{FF2B5EF4-FFF2-40B4-BE49-F238E27FC236}">
                    <a16:creationId xmlns:a16="http://schemas.microsoft.com/office/drawing/2014/main" id="{165BD36C-E9C6-8C42-BDBF-E16E37268DC8}"/>
                  </a:ext>
                </a:extLst>
              </p:cNvPr>
              <p:cNvSpPr/>
              <p:nvPr/>
            </p:nvSpPr>
            <p:spPr>
              <a:xfrm>
                <a:off x="4964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矩形 175">
                <a:extLst>
                  <a:ext uri="{FF2B5EF4-FFF2-40B4-BE49-F238E27FC236}">
                    <a16:creationId xmlns:a16="http://schemas.microsoft.com/office/drawing/2014/main" id="{E40AA748-1122-E34F-B907-0E35C3A241E1}"/>
                  </a:ext>
                </a:extLst>
              </p:cNvPr>
              <p:cNvSpPr/>
              <p:nvPr/>
            </p:nvSpPr>
            <p:spPr>
              <a:xfrm>
                <a:off x="4964" y="5195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7" name="矩形 176">
                <a:extLst>
                  <a:ext uri="{FF2B5EF4-FFF2-40B4-BE49-F238E27FC236}">
                    <a16:creationId xmlns:a16="http://schemas.microsoft.com/office/drawing/2014/main" id="{29970950-C81B-3342-BACD-78220599050D}"/>
                  </a:ext>
                </a:extLst>
              </p:cNvPr>
              <p:cNvSpPr/>
              <p:nvPr/>
            </p:nvSpPr>
            <p:spPr>
              <a:xfrm>
                <a:off x="4964" y="5693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8" name="矩形 177">
                <a:extLst>
                  <a:ext uri="{FF2B5EF4-FFF2-40B4-BE49-F238E27FC236}">
                    <a16:creationId xmlns:a16="http://schemas.microsoft.com/office/drawing/2014/main" id="{179F2DC4-627C-E741-B9D5-9CE43127789D}"/>
                  </a:ext>
                </a:extLst>
              </p:cNvPr>
              <p:cNvSpPr/>
              <p:nvPr/>
            </p:nvSpPr>
            <p:spPr>
              <a:xfrm>
                <a:off x="4964" y="6191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9" name="矩形 178">
                <a:extLst>
                  <a:ext uri="{FF2B5EF4-FFF2-40B4-BE49-F238E27FC236}">
                    <a16:creationId xmlns:a16="http://schemas.microsoft.com/office/drawing/2014/main" id="{6196EA3D-28A4-3C43-9033-DBC5EDA375C1}"/>
                  </a:ext>
                </a:extLst>
              </p:cNvPr>
              <p:cNvSpPr/>
              <p:nvPr/>
            </p:nvSpPr>
            <p:spPr>
              <a:xfrm>
                <a:off x="5926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0" name="矩形 179">
                <a:extLst>
                  <a:ext uri="{FF2B5EF4-FFF2-40B4-BE49-F238E27FC236}">
                    <a16:creationId xmlns:a16="http://schemas.microsoft.com/office/drawing/2014/main" id="{CA1CDFCA-6B35-3740-BF1A-D92D860FB156}"/>
                  </a:ext>
                </a:extLst>
              </p:cNvPr>
              <p:cNvSpPr/>
              <p:nvPr/>
            </p:nvSpPr>
            <p:spPr>
              <a:xfrm>
                <a:off x="5926" y="5697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1" name="矩形 180">
                <a:extLst>
                  <a:ext uri="{FF2B5EF4-FFF2-40B4-BE49-F238E27FC236}">
                    <a16:creationId xmlns:a16="http://schemas.microsoft.com/office/drawing/2014/main" id="{36B6D6EC-AF7A-0D4F-B6DD-C1C2511EA342}"/>
                  </a:ext>
                </a:extLst>
              </p:cNvPr>
              <p:cNvSpPr/>
              <p:nvPr/>
            </p:nvSpPr>
            <p:spPr>
              <a:xfrm>
                <a:off x="5926" y="6195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2" name="矩形 181">
                <a:extLst>
                  <a:ext uri="{FF2B5EF4-FFF2-40B4-BE49-F238E27FC236}">
                    <a16:creationId xmlns:a16="http://schemas.microsoft.com/office/drawing/2014/main" id="{B488F390-9A6B-4B41-8874-7016A7934193}"/>
                  </a:ext>
                </a:extLst>
              </p:cNvPr>
              <p:cNvSpPr/>
              <p:nvPr/>
            </p:nvSpPr>
            <p:spPr>
              <a:xfrm>
                <a:off x="5926" y="6694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3" name="矩形 182">
                <a:extLst>
                  <a:ext uri="{FF2B5EF4-FFF2-40B4-BE49-F238E27FC236}">
                    <a16:creationId xmlns:a16="http://schemas.microsoft.com/office/drawing/2014/main" id="{A285E223-9FE5-1F4D-B43B-4B071D5D44C4}"/>
                  </a:ext>
                </a:extLst>
              </p:cNvPr>
              <p:cNvSpPr/>
              <p:nvPr/>
            </p:nvSpPr>
            <p:spPr>
              <a:xfrm>
                <a:off x="6894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4" name="矩形 183">
                <a:extLst>
                  <a:ext uri="{FF2B5EF4-FFF2-40B4-BE49-F238E27FC236}">
                    <a16:creationId xmlns:a16="http://schemas.microsoft.com/office/drawing/2014/main" id="{0382B659-984E-3F48-BE6C-F757974F4662}"/>
                  </a:ext>
                </a:extLst>
              </p:cNvPr>
              <p:cNvSpPr/>
              <p:nvPr/>
            </p:nvSpPr>
            <p:spPr>
              <a:xfrm>
                <a:off x="6894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5" name="矩形 184">
                <a:extLst>
                  <a:ext uri="{FF2B5EF4-FFF2-40B4-BE49-F238E27FC236}">
                    <a16:creationId xmlns:a16="http://schemas.microsoft.com/office/drawing/2014/main" id="{F6019149-25B6-B04D-9379-7F5550311BB9}"/>
                  </a:ext>
                </a:extLst>
              </p:cNvPr>
              <p:cNvSpPr/>
              <p:nvPr/>
            </p:nvSpPr>
            <p:spPr>
              <a:xfrm>
                <a:off x="6894" y="5714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6" name="矩形 185">
                <a:extLst>
                  <a:ext uri="{FF2B5EF4-FFF2-40B4-BE49-F238E27FC236}">
                    <a16:creationId xmlns:a16="http://schemas.microsoft.com/office/drawing/2014/main" id="{0C5A4BD5-CC4C-244C-91E0-CD4316F34EBB}"/>
                  </a:ext>
                </a:extLst>
              </p:cNvPr>
              <p:cNvSpPr/>
              <p:nvPr/>
            </p:nvSpPr>
            <p:spPr>
              <a:xfrm>
                <a:off x="7862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7" name="矩形 186">
                <a:extLst>
                  <a:ext uri="{FF2B5EF4-FFF2-40B4-BE49-F238E27FC236}">
                    <a16:creationId xmlns:a16="http://schemas.microsoft.com/office/drawing/2014/main" id="{FC57D927-EBB7-0D49-9ED6-F3FA7C58EEBF}"/>
                  </a:ext>
                </a:extLst>
              </p:cNvPr>
              <p:cNvSpPr/>
              <p:nvPr/>
            </p:nvSpPr>
            <p:spPr>
              <a:xfrm>
                <a:off x="7862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8" name="矩形 187">
                <a:extLst>
                  <a:ext uri="{FF2B5EF4-FFF2-40B4-BE49-F238E27FC236}">
                    <a16:creationId xmlns:a16="http://schemas.microsoft.com/office/drawing/2014/main" id="{F211B346-F9C3-4A42-B909-C7D4F53F647A}"/>
                  </a:ext>
                </a:extLst>
              </p:cNvPr>
              <p:cNvSpPr/>
              <p:nvPr/>
            </p:nvSpPr>
            <p:spPr>
              <a:xfrm>
                <a:off x="7862" y="723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9" name="矩形 188">
                <a:extLst>
                  <a:ext uri="{FF2B5EF4-FFF2-40B4-BE49-F238E27FC236}">
                    <a16:creationId xmlns:a16="http://schemas.microsoft.com/office/drawing/2014/main" id="{81B12984-2A93-F740-B7B0-F72CD68721F2}"/>
                  </a:ext>
                </a:extLst>
              </p:cNvPr>
              <p:cNvSpPr/>
              <p:nvPr/>
            </p:nvSpPr>
            <p:spPr>
              <a:xfrm>
                <a:off x="8831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0" name="矩形 189">
                <a:extLst>
                  <a:ext uri="{FF2B5EF4-FFF2-40B4-BE49-F238E27FC236}">
                    <a16:creationId xmlns:a16="http://schemas.microsoft.com/office/drawing/2014/main" id="{5DD9EB12-BF85-7D49-96CA-1F046503237B}"/>
                  </a:ext>
                </a:extLst>
              </p:cNvPr>
              <p:cNvSpPr/>
              <p:nvPr/>
            </p:nvSpPr>
            <p:spPr>
              <a:xfrm>
                <a:off x="8831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1" name="矩形 190">
                <a:extLst>
                  <a:ext uri="{FF2B5EF4-FFF2-40B4-BE49-F238E27FC236}">
                    <a16:creationId xmlns:a16="http://schemas.microsoft.com/office/drawing/2014/main" id="{F7D59E9B-76AC-E541-8DFC-B901A6DA27DE}"/>
                  </a:ext>
                </a:extLst>
              </p:cNvPr>
              <p:cNvSpPr/>
              <p:nvPr/>
            </p:nvSpPr>
            <p:spPr>
              <a:xfrm>
                <a:off x="8831" y="5703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2" name="矩形 191">
                <a:extLst>
                  <a:ext uri="{FF2B5EF4-FFF2-40B4-BE49-F238E27FC236}">
                    <a16:creationId xmlns:a16="http://schemas.microsoft.com/office/drawing/2014/main" id="{D4EAB63B-47E9-814F-9183-ACAB559DA99F}"/>
                  </a:ext>
                </a:extLst>
              </p:cNvPr>
              <p:cNvSpPr/>
              <p:nvPr/>
            </p:nvSpPr>
            <p:spPr>
              <a:xfrm>
                <a:off x="8831" y="6201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3" name="矩形 192">
                <a:extLst>
                  <a:ext uri="{FF2B5EF4-FFF2-40B4-BE49-F238E27FC236}">
                    <a16:creationId xmlns:a16="http://schemas.microsoft.com/office/drawing/2014/main" id="{19E858C2-303A-934E-8889-9885FDE71DAC}"/>
                  </a:ext>
                </a:extLst>
              </p:cNvPr>
              <p:cNvSpPr/>
              <p:nvPr/>
            </p:nvSpPr>
            <p:spPr>
              <a:xfrm>
                <a:off x="8831" y="6700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4" name="矩形 193">
                <a:extLst>
                  <a:ext uri="{FF2B5EF4-FFF2-40B4-BE49-F238E27FC236}">
                    <a16:creationId xmlns:a16="http://schemas.microsoft.com/office/drawing/2014/main" id="{FDBC365B-73E1-FF4E-B955-5ED559BF4DCE}"/>
                  </a:ext>
                </a:extLst>
              </p:cNvPr>
              <p:cNvSpPr/>
              <p:nvPr/>
            </p:nvSpPr>
            <p:spPr>
              <a:xfrm>
                <a:off x="9785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5" name="矩形 194">
                <a:extLst>
                  <a:ext uri="{FF2B5EF4-FFF2-40B4-BE49-F238E27FC236}">
                    <a16:creationId xmlns:a16="http://schemas.microsoft.com/office/drawing/2014/main" id="{DF75A075-5239-1648-8193-6DDCB41C5647}"/>
                  </a:ext>
                </a:extLst>
              </p:cNvPr>
              <p:cNvSpPr/>
              <p:nvPr/>
            </p:nvSpPr>
            <p:spPr>
              <a:xfrm>
                <a:off x="9785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6" name="矩形 195">
                <a:extLst>
                  <a:ext uri="{FF2B5EF4-FFF2-40B4-BE49-F238E27FC236}">
                    <a16:creationId xmlns:a16="http://schemas.microsoft.com/office/drawing/2014/main" id="{B064857B-1AD6-3C4A-8510-667CC156ACE3}"/>
                  </a:ext>
                </a:extLst>
              </p:cNvPr>
              <p:cNvSpPr/>
              <p:nvPr/>
            </p:nvSpPr>
            <p:spPr>
              <a:xfrm>
                <a:off x="9785" y="5195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7" name="矩形 196">
                <a:extLst>
                  <a:ext uri="{FF2B5EF4-FFF2-40B4-BE49-F238E27FC236}">
                    <a16:creationId xmlns:a16="http://schemas.microsoft.com/office/drawing/2014/main" id="{900EDA39-635E-324B-B388-4494EFCD872F}"/>
                  </a:ext>
                </a:extLst>
              </p:cNvPr>
              <p:cNvSpPr/>
              <p:nvPr/>
            </p:nvSpPr>
            <p:spPr>
              <a:xfrm>
                <a:off x="9785" y="5693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8" name="矩形 197">
                <a:extLst>
                  <a:ext uri="{FF2B5EF4-FFF2-40B4-BE49-F238E27FC236}">
                    <a16:creationId xmlns:a16="http://schemas.microsoft.com/office/drawing/2014/main" id="{59DDA8C6-8291-8242-BE53-5EA76D2E12D4}"/>
                  </a:ext>
                </a:extLst>
              </p:cNvPr>
              <p:cNvSpPr/>
              <p:nvPr/>
            </p:nvSpPr>
            <p:spPr>
              <a:xfrm>
                <a:off x="9785" y="7263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9" name="矩形 198">
                <a:extLst>
                  <a:ext uri="{FF2B5EF4-FFF2-40B4-BE49-F238E27FC236}">
                    <a16:creationId xmlns:a16="http://schemas.microsoft.com/office/drawing/2014/main" id="{93BEF5B7-EFFD-CA43-A246-72C3470F613C}"/>
                  </a:ext>
                </a:extLst>
              </p:cNvPr>
              <p:cNvSpPr/>
              <p:nvPr/>
            </p:nvSpPr>
            <p:spPr>
              <a:xfrm>
                <a:off x="9785" y="7684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0" name="矩形 199">
                <a:extLst>
                  <a:ext uri="{FF2B5EF4-FFF2-40B4-BE49-F238E27FC236}">
                    <a16:creationId xmlns:a16="http://schemas.microsoft.com/office/drawing/2014/main" id="{163A8621-1BE5-5144-A596-C0097AD3A3C8}"/>
                  </a:ext>
                </a:extLst>
              </p:cNvPr>
              <p:cNvSpPr/>
              <p:nvPr/>
            </p:nvSpPr>
            <p:spPr>
              <a:xfrm>
                <a:off x="10740" y="4198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1" name="矩形 200">
                <a:extLst>
                  <a:ext uri="{FF2B5EF4-FFF2-40B4-BE49-F238E27FC236}">
                    <a16:creationId xmlns:a16="http://schemas.microsoft.com/office/drawing/2014/main" id="{130465C6-8B26-B44C-B2D7-61073D5C07AF}"/>
                  </a:ext>
                </a:extLst>
              </p:cNvPr>
              <p:cNvSpPr/>
              <p:nvPr/>
            </p:nvSpPr>
            <p:spPr>
              <a:xfrm>
                <a:off x="10740" y="4696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2" name="矩形 201">
                <a:extLst>
                  <a:ext uri="{FF2B5EF4-FFF2-40B4-BE49-F238E27FC236}">
                    <a16:creationId xmlns:a16="http://schemas.microsoft.com/office/drawing/2014/main" id="{9DC47C61-6AFB-E346-BBCA-3CC21E46581E}"/>
                  </a:ext>
                </a:extLst>
              </p:cNvPr>
              <p:cNvSpPr/>
              <p:nvPr/>
            </p:nvSpPr>
            <p:spPr>
              <a:xfrm>
                <a:off x="10740" y="5697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3" name="矩形 202">
                <a:extLst>
                  <a:ext uri="{FF2B5EF4-FFF2-40B4-BE49-F238E27FC236}">
                    <a16:creationId xmlns:a16="http://schemas.microsoft.com/office/drawing/2014/main" id="{383E9B69-D970-9E43-A72C-411743B82A6B}"/>
                  </a:ext>
                </a:extLst>
              </p:cNvPr>
              <p:cNvSpPr/>
              <p:nvPr/>
            </p:nvSpPr>
            <p:spPr>
              <a:xfrm>
                <a:off x="10740" y="7254"/>
                <a:ext cx="817" cy="32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5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4" name="AutoShape 20">
                <a:extLst>
                  <a:ext uri="{FF2B5EF4-FFF2-40B4-BE49-F238E27FC236}">
                    <a16:creationId xmlns:a16="http://schemas.microsoft.com/office/drawing/2014/main" id="{2F9E8DA3-F1B8-384E-8A91-6441A75E00AF}"/>
                  </a:ext>
                </a:extLst>
              </p:cNvPr>
              <p:cNvSpPr/>
              <p:nvPr/>
            </p:nvSpPr>
            <p:spPr bwMode="auto">
              <a:xfrm>
                <a:off x="7374" y="2465"/>
                <a:ext cx="251" cy="294"/>
              </a:xfrm>
              <a:prstGeom prst="pentagon">
                <a:avLst/>
              </a:prstGeom>
              <a:solidFill>
                <a:srgbClr val="8B8D31"/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 sz="1200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Oval 21">
                <a:extLst>
                  <a:ext uri="{FF2B5EF4-FFF2-40B4-BE49-F238E27FC236}">
                    <a16:creationId xmlns:a16="http://schemas.microsoft.com/office/drawing/2014/main" id="{4CBC9547-4519-1543-9584-3E54E2382CA5}"/>
                  </a:ext>
                </a:extLst>
              </p:cNvPr>
              <p:cNvSpPr/>
              <p:nvPr/>
            </p:nvSpPr>
            <p:spPr bwMode="auto">
              <a:xfrm>
                <a:off x="7392" y="2333"/>
                <a:ext cx="222" cy="193"/>
              </a:xfrm>
              <a:prstGeom prst="ellips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 sz="1200">
                  <a:solidFill>
                    <a:prstClr val="black"/>
                  </a:solidFill>
                </a:endParaRPr>
              </a:p>
            </p:txBody>
          </p:sp>
          <p:sp>
            <p:nvSpPr>
              <p:cNvPr id="206" name="AutoShape 20">
                <a:extLst>
                  <a:ext uri="{FF2B5EF4-FFF2-40B4-BE49-F238E27FC236}">
                    <a16:creationId xmlns:a16="http://schemas.microsoft.com/office/drawing/2014/main" id="{58ACED62-A82E-6149-B446-92B8C6D6B546}"/>
                  </a:ext>
                </a:extLst>
              </p:cNvPr>
              <p:cNvSpPr/>
              <p:nvPr/>
            </p:nvSpPr>
            <p:spPr bwMode="auto">
              <a:xfrm>
                <a:off x="7646" y="2473"/>
                <a:ext cx="251" cy="294"/>
              </a:xfrm>
              <a:prstGeom prst="pentagon">
                <a:avLst/>
              </a:prstGeom>
              <a:solidFill>
                <a:srgbClr val="FF0000"/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 sz="1200">
                  <a:solidFill>
                    <a:prstClr val="black"/>
                  </a:solidFill>
                </a:endParaRPr>
              </a:p>
            </p:txBody>
          </p:sp>
          <p:sp>
            <p:nvSpPr>
              <p:cNvPr id="207" name="Oval 21">
                <a:extLst>
                  <a:ext uri="{FF2B5EF4-FFF2-40B4-BE49-F238E27FC236}">
                    <a16:creationId xmlns:a16="http://schemas.microsoft.com/office/drawing/2014/main" id="{F5015822-6D6E-4F4B-9520-38879914FACA}"/>
                  </a:ext>
                </a:extLst>
              </p:cNvPr>
              <p:cNvSpPr/>
              <p:nvPr/>
            </p:nvSpPr>
            <p:spPr bwMode="auto">
              <a:xfrm>
                <a:off x="7665" y="2340"/>
                <a:ext cx="222" cy="193"/>
              </a:xfrm>
              <a:prstGeom prst="ellips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outerShdw dist="25399" dir="2700000" algn="ctr" rotWithShape="0">
                  <a:schemeClr val="bg2">
                    <a:alpha val="75000"/>
                  </a:schemeClr>
                </a:outerShdw>
              </a:effectLst>
            </p:spPr>
            <p:txBody>
              <a:bodyPr lIns="0" tIns="0" rIns="0" bIns="0"/>
              <a:lstStyle/>
              <a:p>
                <a:pPr algn="ctr"/>
                <a:endParaRPr lang="zh-CN" altLang="en-US" sz="120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08" name="直接连接符 68">
                <a:extLst>
                  <a:ext uri="{FF2B5EF4-FFF2-40B4-BE49-F238E27FC236}">
                    <a16:creationId xmlns:a16="http://schemas.microsoft.com/office/drawing/2014/main" id="{D43C15F2-8869-CB42-8F38-AD6EC0718168}"/>
                  </a:ext>
                </a:extLst>
              </p:cNvPr>
              <p:cNvCxnSpPr/>
              <p:nvPr/>
            </p:nvCxnSpPr>
            <p:spPr>
              <a:xfrm>
                <a:off x="2025" y="5564"/>
                <a:ext cx="10137" cy="44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直接连接符 69">
                <a:extLst>
                  <a:ext uri="{FF2B5EF4-FFF2-40B4-BE49-F238E27FC236}">
                    <a16:creationId xmlns:a16="http://schemas.microsoft.com/office/drawing/2014/main" id="{8BFCE4BB-A79B-6C46-A9ED-A938AA327F11}"/>
                  </a:ext>
                </a:extLst>
              </p:cNvPr>
              <p:cNvCxnSpPr/>
              <p:nvPr/>
            </p:nvCxnSpPr>
            <p:spPr>
              <a:xfrm>
                <a:off x="2025" y="7093"/>
                <a:ext cx="10152" cy="25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0" name="圆角矩形标注 209">
                <a:extLst>
                  <a:ext uri="{FF2B5EF4-FFF2-40B4-BE49-F238E27FC236}">
                    <a16:creationId xmlns:a16="http://schemas.microsoft.com/office/drawing/2014/main" id="{449D66A9-B11C-C84D-BB26-5D1B5585B8B0}"/>
                  </a:ext>
                </a:extLst>
              </p:cNvPr>
              <p:cNvSpPr/>
              <p:nvPr/>
            </p:nvSpPr>
            <p:spPr>
              <a:xfrm>
                <a:off x="9842" y="1890"/>
                <a:ext cx="1129" cy="566"/>
              </a:xfrm>
              <a:prstGeom prst="wedgeRoundRectCallout">
                <a:avLst>
                  <a:gd name="adj1" fmla="val -43406"/>
                  <a:gd name="adj2" fmla="val 105578"/>
                  <a:gd name="adj3" fmla="val 16667"/>
                </a:avLst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Epic</a:t>
                </a:r>
                <a:endParaRPr lang="zh-CN" altLang="en-US" sz="14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211" name="圆角矩形标注 210">
                <a:extLst>
                  <a:ext uri="{FF2B5EF4-FFF2-40B4-BE49-F238E27FC236}">
                    <a16:creationId xmlns:a16="http://schemas.microsoft.com/office/drawing/2014/main" id="{4029C460-2262-E747-A74C-2D149866440E}"/>
                  </a:ext>
                </a:extLst>
              </p:cNvPr>
              <p:cNvSpPr/>
              <p:nvPr/>
            </p:nvSpPr>
            <p:spPr>
              <a:xfrm>
                <a:off x="11302" y="2513"/>
                <a:ext cx="1409" cy="578"/>
              </a:xfrm>
              <a:prstGeom prst="wedgeRoundRectCallout">
                <a:avLst>
                  <a:gd name="adj1" fmla="val -57273"/>
                  <a:gd name="adj2" fmla="val 140204"/>
                  <a:gd name="adj3" fmla="val 16667"/>
                </a:avLst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Feature</a:t>
                </a:r>
                <a:endParaRPr lang="zh-CN" altLang="en-US" sz="14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212" name="圆角矩形标注 211">
                <a:extLst>
                  <a:ext uri="{FF2B5EF4-FFF2-40B4-BE49-F238E27FC236}">
                    <a16:creationId xmlns:a16="http://schemas.microsoft.com/office/drawing/2014/main" id="{69816717-2BFA-934B-B39A-5EFC4D5A73BC}"/>
                  </a:ext>
                </a:extLst>
              </p:cNvPr>
              <p:cNvSpPr/>
              <p:nvPr/>
            </p:nvSpPr>
            <p:spPr>
              <a:xfrm>
                <a:off x="6079" y="4864"/>
                <a:ext cx="1129" cy="578"/>
              </a:xfrm>
              <a:prstGeom prst="wedgeRoundRectCallout">
                <a:avLst>
                  <a:gd name="adj1" fmla="val -27467"/>
                  <a:gd name="adj2" fmla="val 115966"/>
                  <a:gd name="adj3" fmla="val 16667"/>
                </a:avLst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Story</a:t>
                </a:r>
                <a:endParaRPr lang="zh-CN" altLang="en-US" sz="1400" b="1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213" name="文本框 212">
                <a:extLst>
                  <a:ext uri="{FF2B5EF4-FFF2-40B4-BE49-F238E27FC236}">
                    <a16:creationId xmlns:a16="http://schemas.microsoft.com/office/drawing/2014/main" id="{0B6E98D0-0C24-924C-8811-356628A257B9}"/>
                  </a:ext>
                </a:extLst>
              </p:cNvPr>
              <p:cNvSpPr txBox="1"/>
              <p:nvPr/>
            </p:nvSpPr>
            <p:spPr>
              <a:xfrm>
                <a:off x="11509" y="5112"/>
                <a:ext cx="1736" cy="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b="1" dirty="0"/>
                  <a:t>Release1</a:t>
                </a:r>
                <a:endParaRPr lang="zh-CN" altLang="en-US" sz="1400" b="1" dirty="0"/>
              </a:p>
            </p:txBody>
          </p:sp>
          <p:sp>
            <p:nvSpPr>
              <p:cNvPr id="214" name="文本框 213">
                <a:extLst>
                  <a:ext uri="{FF2B5EF4-FFF2-40B4-BE49-F238E27FC236}">
                    <a16:creationId xmlns:a16="http://schemas.microsoft.com/office/drawing/2014/main" id="{7B60A879-C4C8-C348-9D7E-06A4D3AFA270}"/>
                  </a:ext>
                </a:extLst>
              </p:cNvPr>
              <p:cNvSpPr txBox="1"/>
              <p:nvPr/>
            </p:nvSpPr>
            <p:spPr>
              <a:xfrm>
                <a:off x="11509" y="6584"/>
                <a:ext cx="1736" cy="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b="1" dirty="0"/>
                  <a:t>Release2</a:t>
                </a:r>
                <a:endParaRPr lang="zh-CN" altLang="en-US" sz="1400" b="1" dirty="0"/>
              </a:p>
            </p:txBody>
          </p:sp>
          <p:grpSp>
            <p:nvGrpSpPr>
              <p:cNvPr id="215" name="组 78">
                <a:extLst>
                  <a:ext uri="{FF2B5EF4-FFF2-40B4-BE49-F238E27FC236}">
                    <a16:creationId xmlns:a16="http://schemas.microsoft.com/office/drawing/2014/main" id="{7E864727-5483-2540-A14F-1BB284DC1EC0}"/>
                  </a:ext>
                </a:extLst>
              </p:cNvPr>
              <p:cNvGrpSpPr/>
              <p:nvPr/>
            </p:nvGrpSpPr>
            <p:grpSpPr>
              <a:xfrm>
                <a:off x="1543" y="3045"/>
                <a:ext cx="10528" cy="646"/>
                <a:chOff x="814554" y="1565662"/>
                <a:chExt cx="6685116" cy="410179"/>
              </a:xfrm>
            </p:grpSpPr>
            <p:cxnSp>
              <p:nvCxnSpPr>
                <p:cNvPr id="221" name="直接连接符 5">
                  <a:extLst>
                    <a:ext uri="{FF2B5EF4-FFF2-40B4-BE49-F238E27FC236}">
                      <a16:creationId xmlns:a16="http://schemas.microsoft.com/office/drawing/2014/main" id="{21D40BAF-1D57-864B-98FD-D57388F51523}"/>
                    </a:ext>
                  </a:extLst>
                </p:cNvPr>
                <p:cNvCxnSpPr/>
                <p:nvPr/>
              </p:nvCxnSpPr>
              <p:spPr>
                <a:xfrm>
                  <a:off x="1105483" y="1833962"/>
                  <a:ext cx="6138913" cy="2590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  <a:headEnd type="none" w="med" len="med"/>
                  <a:tailEnd type="arrow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2" name="文本框 221">
                  <a:extLst>
                    <a:ext uri="{FF2B5EF4-FFF2-40B4-BE49-F238E27FC236}">
                      <a16:creationId xmlns:a16="http://schemas.microsoft.com/office/drawing/2014/main" id="{350C504E-FCB2-D64E-B454-00C788857DA1}"/>
                    </a:ext>
                  </a:extLst>
                </p:cNvPr>
                <p:cNvSpPr txBox="1"/>
                <p:nvPr/>
              </p:nvSpPr>
              <p:spPr>
                <a:xfrm>
                  <a:off x="814554" y="1666894"/>
                  <a:ext cx="245415" cy="29562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500" b="1" dirty="0">
                      <a:latin typeface="微软雅黑" panose="020B0503020204020204" charset="-122"/>
                      <a:ea typeface="微软雅黑" panose="020B0503020204020204" charset="-122"/>
                    </a:rPr>
                    <a:t>前</a:t>
                  </a:r>
                </a:p>
              </p:txBody>
            </p:sp>
            <p:sp>
              <p:nvSpPr>
                <p:cNvPr id="223" name="文本框 222">
                  <a:extLst>
                    <a:ext uri="{FF2B5EF4-FFF2-40B4-BE49-F238E27FC236}">
                      <a16:creationId xmlns:a16="http://schemas.microsoft.com/office/drawing/2014/main" id="{C0EF48A8-DF91-094C-A0E2-D5E8A0CFCFCD}"/>
                    </a:ext>
                  </a:extLst>
                </p:cNvPr>
                <p:cNvSpPr txBox="1"/>
                <p:nvPr/>
              </p:nvSpPr>
              <p:spPr>
                <a:xfrm>
                  <a:off x="7254255" y="1680214"/>
                  <a:ext cx="245415" cy="29562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500" b="1" dirty="0">
                      <a:latin typeface="微软雅黑" panose="020B0503020204020204" charset="-122"/>
                      <a:ea typeface="微软雅黑" panose="020B0503020204020204" charset="-122"/>
                    </a:rPr>
                    <a:t>后</a:t>
                  </a:r>
                </a:p>
              </p:txBody>
            </p:sp>
            <p:sp>
              <p:nvSpPr>
                <p:cNvPr id="224" name="文本框 223">
                  <a:extLst>
                    <a:ext uri="{FF2B5EF4-FFF2-40B4-BE49-F238E27FC236}">
                      <a16:creationId xmlns:a16="http://schemas.microsoft.com/office/drawing/2014/main" id="{D2EAD73A-F56A-D04C-840C-15496B48A973}"/>
                    </a:ext>
                  </a:extLst>
                </p:cNvPr>
                <p:cNvSpPr txBox="1"/>
                <p:nvPr/>
              </p:nvSpPr>
              <p:spPr>
                <a:xfrm>
                  <a:off x="3498009" y="1565662"/>
                  <a:ext cx="959692" cy="2770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500" b="1" dirty="0">
                      <a:latin typeface="微软雅黑" panose="020B0503020204020204" charset="-122"/>
                      <a:ea typeface="微软雅黑" panose="020B0503020204020204" charset="-122"/>
                    </a:rPr>
                    <a:t>体验路径</a:t>
                  </a:r>
                </a:p>
              </p:txBody>
            </p:sp>
          </p:grpSp>
          <p:cxnSp>
            <p:nvCxnSpPr>
              <p:cNvPr id="216" name="Straight Connector 3">
                <a:extLst>
                  <a:ext uri="{FF2B5EF4-FFF2-40B4-BE49-F238E27FC236}">
                    <a16:creationId xmlns:a16="http://schemas.microsoft.com/office/drawing/2014/main" id="{6BCE4E3A-5881-B14F-9E5F-C29C9B47DFCD}"/>
                  </a:ext>
                </a:extLst>
              </p:cNvPr>
              <p:cNvCxnSpPr/>
              <p:nvPr/>
            </p:nvCxnSpPr>
            <p:spPr bwMode="auto">
              <a:xfrm>
                <a:off x="1487" y="4521"/>
                <a:ext cx="0" cy="2782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med" len="med"/>
                <a:tailEnd type="arrow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TextBox 14">
                <a:extLst>
                  <a:ext uri="{FF2B5EF4-FFF2-40B4-BE49-F238E27FC236}">
                    <a16:creationId xmlns:a16="http://schemas.microsoft.com/office/drawing/2014/main" id="{3502AEE5-EF65-1348-A345-6E13EC9381E8}"/>
                  </a:ext>
                </a:extLst>
              </p:cNvPr>
              <p:cNvSpPr txBox="1"/>
              <p:nvPr/>
            </p:nvSpPr>
            <p:spPr>
              <a:xfrm rot="5400000">
                <a:off x="1144" y="5661"/>
                <a:ext cx="1204" cy="4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None/>
                </a:pPr>
                <a:r>
                  <a:rPr lang="zh-CN" altLang="en-US" sz="1500" b="1" dirty="0">
                    <a:latin typeface="Microsoft YaHei" charset="-122"/>
                    <a:ea typeface="Microsoft YaHei" charset="-122"/>
                    <a:cs typeface="Microsoft YaHei" charset="-122"/>
                  </a:rPr>
                  <a:t>优先级</a:t>
                </a:r>
                <a:endParaRPr lang="en-US" sz="1500" b="1" dirty="0">
                  <a:latin typeface="Microsoft YaHei" charset="-122"/>
                  <a:ea typeface="Microsoft YaHei" charset="-122"/>
                  <a:cs typeface="Microsoft YaHei" charset="-122"/>
                </a:endParaRPr>
              </a:p>
            </p:txBody>
          </p:sp>
          <p:sp>
            <p:nvSpPr>
              <p:cNvPr id="218" name="文本框 217">
                <a:extLst>
                  <a:ext uri="{FF2B5EF4-FFF2-40B4-BE49-F238E27FC236}">
                    <a16:creationId xmlns:a16="http://schemas.microsoft.com/office/drawing/2014/main" id="{40ED8200-01F2-804E-B36B-C6EB1DF0988B}"/>
                  </a:ext>
                </a:extLst>
              </p:cNvPr>
              <p:cNvSpPr txBox="1"/>
              <p:nvPr/>
            </p:nvSpPr>
            <p:spPr>
              <a:xfrm>
                <a:off x="1200" y="4070"/>
                <a:ext cx="386" cy="4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500" b="1" dirty="0">
                    <a:latin typeface="微软雅黑" panose="020B0503020204020204" charset="-122"/>
                    <a:ea typeface="微软雅黑" panose="020B0503020204020204" charset="-122"/>
                  </a:rPr>
                  <a:t>高</a:t>
                </a:r>
              </a:p>
            </p:txBody>
          </p:sp>
          <p:sp>
            <p:nvSpPr>
              <p:cNvPr id="219" name="文本框 218">
                <a:extLst>
                  <a:ext uri="{FF2B5EF4-FFF2-40B4-BE49-F238E27FC236}">
                    <a16:creationId xmlns:a16="http://schemas.microsoft.com/office/drawing/2014/main" id="{218B48A1-A2F0-1A47-BC0D-2CDCC0F2A0F8}"/>
                  </a:ext>
                </a:extLst>
              </p:cNvPr>
              <p:cNvSpPr txBox="1"/>
              <p:nvPr/>
            </p:nvSpPr>
            <p:spPr>
              <a:xfrm>
                <a:off x="1200" y="7326"/>
                <a:ext cx="386" cy="4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500" b="1" dirty="0">
                    <a:latin typeface="微软雅黑" panose="020B0503020204020204" charset="-122"/>
                    <a:ea typeface="微软雅黑" panose="020B0503020204020204" charset="-122"/>
                  </a:rPr>
                  <a:t>低</a:t>
                </a:r>
              </a:p>
            </p:txBody>
          </p:sp>
          <p:sp>
            <p:nvSpPr>
              <p:cNvPr id="220" name="圆角矩形标注 219">
                <a:extLst>
                  <a:ext uri="{FF2B5EF4-FFF2-40B4-BE49-F238E27FC236}">
                    <a16:creationId xmlns:a16="http://schemas.microsoft.com/office/drawing/2014/main" id="{BE827868-3B1B-2F4B-8999-F56A6C3B816D}"/>
                  </a:ext>
                </a:extLst>
              </p:cNvPr>
              <p:cNvSpPr/>
              <p:nvPr/>
            </p:nvSpPr>
            <p:spPr>
              <a:xfrm>
                <a:off x="7931" y="1890"/>
                <a:ext cx="1584" cy="578"/>
              </a:xfrm>
              <a:prstGeom prst="wedgeRoundRectCallout">
                <a:avLst>
                  <a:gd name="adj1" fmla="val -49737"/>
                  <a:gd name="adj2" fmla="val 74414"/>
                  <a:gd name="adj3" fmla="val 16667"/>
                </a:avLst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400" b="1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用户角色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85062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CBC536C6-10B8-A846-8013-DA53F0F28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4</a:t>
            </a:r>
            <a:r>
              <a:rPr kumimoji="1" lang="zh-CN" altLang="en-US" sz="2000" dirty="0">
                <a:solidFill>
                  <a:schemeClr val="accent1"/>
                </a:solidFill>
              </a:rPr>
              <a:t> 迭代计划</a:t>
            </a:r>
            <a:endParaRPr kumimoji="1" lang="zh-CN" altLang="en-US" sz="200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38AA2D0-7512-B943-91F3-D151AC1B8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2631" y="1900109"/>
            <a:ext cx="9290685" cy="4094480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DCB04C43-2FCD-2B4A-B400-FA4EF6129897}"/>
              </a:ext>
            </a:extLst>
          </p:cNvPr>
          <p:cNvSpPr/>
          <p:nvPr/>
        </p:nvSpPr>
        <p:spPr>
          <a:xfrm>
            <a:off x="752617" y="1301823"/>
            <a:ext cx="2983230" cy="4298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将卡片放入迭代计划</a:t>
            </a:r>
          </a:p>
        </p:txBody>
      </p:sp>
    </p:spTree>
    <p:extLst>
      <p:ext uri="{BB962C8B-B14F-4D97-AF65-F5344CB8AC3E}">
        <p14:creationId xmlns:p14="http://schemas.microsoft.com/office/powerpoint/2010/main" val="34156542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CBC536C6-10B8-A846-8013-DA53F0F28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5</a:t>
            </a:r>
            <a:r>
              <a:rPr kumimoji="1" lang="zh-CN" altLang="en-US" sz="2000" dirty="0">
                <a:solidFill>
                  <a:schemeClr val="accent1"/>
                </a:solidFill>
              </a:rPr>
              <a:t> 迭代执行</a:t>
            </a:r>
            <a:endParaRPr kumimoji="1" lang="zh-CN" altLang="en-US" sz="200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F545EBE-5052-5E4A-9C56-7976AFF8F2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895" y="1136650"/>
            <a:ext cx="7252970" cy="541655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30A1D1BC-1EAE-384D-8FEF-0405DAEAE9D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17880" y="2305050"/>
            <a:ext cx="3096895" cy="1663700"/>
          </a:xfrm>
          <a:prstGeom prst="rect">
            <a:avLst/>
          </a:prstGeom>
          <a:noFill/>
        </p:spPr>
        <p:txBody>
          <a:bodyPr wrap="square" rtlCol="0"/>
          <a:lstStyle/>
          <a:p>
            <a:pPr marL="342900" indent="-342900" algn="l">
              <a:buFont typeface="Arial" panose="020B0604020202090204" pitchFamily="34" charset="0"/>
              <a:buChar char="•"/>
            </a:pPr>
            <a:r>
              <a:rPr lang="zh-CN" altLang="en-US" spc="150">
                <a:solidFill>
                  <a:srgbClr val="000000">
                    <a:lumMod val="75000"/>
                    <a:lumOff val="2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燃尽图</a:t>
            </a:r>
          </a:p>
          <a:p>
            <a:pPr marL="342900" indent="-342900" algn="l">
              <a:buFont typeface="Arial" panose="020B0604020202090204" pitchFamily="34" charset="0"/>
              <a:buChar char="•"/>
            </a:pPr>
            <a:endParaRPr lang="zh-CN" altLang="en-US" spc="150">
              <a:solidFill>
                <a:srgbClr val="000000">
                  <a:lumMod val="75000"/>
                  <a:lumOff val="25000"/>
                </a:srgbClr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+mn-ea"/>
            </a:endParaRPr>
          </a:p>
          <a:p>
            <a:pPr marL="342900" indent="-342900" algn="l">
              <a:buFont typeface="Arial" panose="020B0604020202090204" pitchFamily="34" charset="0"/>
              <a:buChar char="•"/>
            </a:pPr>
            <a:r>
              <a:rPr lang="zh-CN" altLang="en-US" spc="150">
                <a:solidFill>
                  <a:srgbClr val="000000">
                    <a:lumMod val="75000"/>
                    <a:lumOff val="2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看板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6021B1D-3ED0-5D46-AF2D-862BB33F034F}"/>
              </a:ext>
            </a:extLst>
          </p:cNvPr>
          <p:cNvSpPr/>
          <p:nvPr/>
        </p:nvSpPr>
        <p:spPr>
          <a:xfrm>
            <a:off x="410845" y="1581150"/>
            <a:ext cx="4504690" cy="398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000" dirty="0"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迭代执行工具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258B382-ABDD-C44D-A3D1-8A610317C33C}"/>
              </a:ext>
            </a:extLst>
          </p:cNvPr>
          <p:cNvSpPr/>
          <p:nvPr/>
        </p:nvSpPr>
        <p:spPr>
          <a:xfrm>
            <a:off x="817880" y="3478530"/>
            <a:ext cx="3250565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 algn="l">
              <a:buFont typeface="Wingdings" panose="05000000000000000000" pitchFamily="2" charset="2"/>
              <a:buNone/>
            </a:pPr>
            <a:r>
              <a:rPr lang="en-US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微软雅黑" panose="020B0503020204020204" charset="-122"/>
                <a:sym typeface="+mn-ea"/>
              </a:rPr>
              <a:t>Scrum Master</a:t>
            </a:r>
            <a:r>
              <a:rPr lang="zh-CN" altLang="en-US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微软雅黑" panose="020B0503020204020204" charset="-122"/>
                <a:sym typeface="+mn-ea"/>
              </a:rPr>
              <a:t>主持会议、监控迭代进度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3B5D2A6-F4EE-5445-9F8B-690B15C75242}"/>
              </a:ext>
            </a:extLst>
          </p:cNvPr>
          <p:cNvSpPr/>
          <p:nvPr/>
        </p:nvSpPr>
        <p:spPr>
          <a:xfrm>
            <a:off x="817880" y="4293870"/>
            <a:ext cx="3284855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 algn="l">
              <a:buFont typeface="Wingdings" panose="05000000000000000000" pitchFamily="2" charset="2"/>
              <a:buNone/>
            </a:pPr>
            <a:r>
              <a:rPr lang="en-US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微软雅黑" panose="020B0503020204020204" charset="-122"/>
                <a:sym typeface="+mn-ea"/>
              </a:rPr>
              <a:t>Scrum Team</a:t>
            </a:r>
            <a:r>
              <a:rPr lang="zh-CN" altLang="en-US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微软雅黑" panose="020B0503020204020204" charset="-122"/>
                <a:sym typeface="+mn-ea"/>
              </a:rPr>
              <a:t>成员逐一同步</a:t>
            </a:r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微软雅黑" panose="020B0503020204020204" charset="-122"/>
                <a:sym typeface="+mn-ea"/>
              </a:rPr>
              <a:t>工作进展、风险点、</a:t>
            </a:r>
            <a:r>
              <a:rPr lang="en-US" altLang="zh-CN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微软雅黑" panose="020B0503020204020204" charset="-122"/>
                <a:sym typeface="+mn-ea"/>
              </a:rPr>
              <a:t>Block/by Block</a:t>
            </a:r>
          </a:p>
        </p:txBody>
      </p:sp>
    </p:spTree>
    <p:extLst>
      <p:ext uri="{BB962C8B-B14F-4D97-AF65-F5344CB8AC3E}">
        <p14:creationId xmlns:p14="http://schemas.microsoft.com/office/powerpoint/2010/main" val="11880856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CBC536C6-10B8-A846-8013-DA53F0F28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6</a:t>
            </a:r>
            <a:r>
              <a:rPr kumimoji="1" lang="zh-CN" altLang="en-US" sz="2000" dirty="0">
                <a:solidFill>
                  <a:schemeClr val="accent1"/>
                </a:solidFill>
              </a:rPr>
              <a:t> 迭代演示</a:t>
            </a:r>
            <a:endParaRPr kumimoji="1" lang="zh-CN" altLang="en-US" sz="2000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7358651-E83E-E842-AFF4-04DB67AD9515}"/>
              </a:ext>
            </a:extLst>
          </p:cNvPr>
          <p:cNvSpPr/>
          <p:nvPr/>
        </p:nvSpPr>
        <p:spPr>
          <a:xfrm>
            <a:off x="1196975" y="2168525"/>
            <a:ext cx="7543800" cy="1014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zh-CN" altLang="en-US" sz="20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可以</a:t>
            </a:r>
            <a:r>
              <a:rPr lang="en-US" altLang="zh-CN" sz="20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howcase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的卡片清单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endParaRPr lang="zh-CN" altLang="en-US" sz="20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n-US" altLang="zh-CN" sz="20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howcase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未通过的卡片打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49F6419-5BA9-FA42-9A90-25EFC701A337}"/>
              </a:ext>
            </a:extLst>
          </p:cNvPr>
          <p:cNvSpPr/>
          <p:nvPr/>
        </p:nvSpPr>
        <p:spPr>
          <a:xfrm>
            <a:off x="1196975" y="3645535"/>
            <a:ext cx="711454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 algn="l">
              <a:buFont typeface="Wingdings" panose="05000000000000000000" pitchFamily="2" charset="2"/>
              <a:buNone/>
            </a:pPr>
            <a:r>
              <a:rPr lang="en-US" dirty="0">
                <a:solidFill>
                  <a:schemeClr val="accent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crum Team </a:t>
            </a:r>
            <a:r>
              <a:rPr lang="zh-CN" altLang="en-US" dirty="0">
                <a:solidFill>
                  <a:schemeClr val="accent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逐一演示自己完成的功能，尽量做到可视化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BA5D262-85E1-884A-B8EF-1A19BD64E92A}"/>
              </a:ext>
            </a:extLst>
          </p:cNvPr>
          <p:cNvSpPr/>
          <p:nvPr/>
        </p:nvSpPr>
        <p:spPr>
          <a:xfrm>
            <a:off x="1196975" y="4222115"/>
            <a:ext cx="711454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 algn="l">
              <a:buFont typeface="Wingdings" panose="05000000000000000000" pitchFamily="2" charset="2"/>
              <a:buNone/>
            </a:pPr>
            <a:r>
              <a:rPr lang="en-US" dirty="0">
                <a:solidFill>
                  <a:schemeClr val="accent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roduct Owner </a:t>
            </a:r>
            <a:r>
              <a:rPr lang="zh-CN" altLang="en-US" dirty="0">
                <a:solidFill>
                  <a:schemeClr val="accent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负责验收决定是否达到预期</a:t>
            </a:r>
          </a:p>
        </p:txBody>
      </p:sp>
    </p:spTree>
    <p:extLst>
      <p:ext uri="{BB962C8B-B14F-4D97-AF65-F5344CB8AC3E}">
        <p14:creationId xmlns:p14="http://schemas.microsoft.com/office/powerpoint/2010/main" val="2350011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1.</a:t>
            </a:r>
            <a:r>
              <a:rPr lang="zh-CN" altLang="en-US" dirty="0">
                <a:sym typeface="+mn-ea"/>
              </a:rPr>
              <a:t> 工程效能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提升工程效能的思路：落脚点</a:t>
            </a:r>
            <a:r>
              <a:rPr kumimoji="1" lang="en-US" altLang="zh-CN" sz="1800" dirty="0">
                <a:solidFill>
                  <a:schemeClr val="accent1"/>
                </a:solidFill>
                <a:sym typeface="+mn-ea"/>
              </a:rPr>
              <a:t>-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速度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pic>
        <p:nvPicPr>
          <p:cNvPr id="24577" name="Picture 1" descr="C:\Users\Administrator\Documents\Baidu\Baidu Hi\654Cbabdu\My Images\a6\a63e7832e9d2ddeff2d5004d973115d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645" y="3178886"/>
            <a:ext cx="10696682" cy="367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B8CE13E9-2E06-2C4C-A71F-FE72F84625B6}"/>
              </a:ext>
            </a:extLst>
          </p:cNvPr>
          <p:cNvSpPr txBox="1"/>
          <p:nvPr/>
        </p:nvSpPr>
        <p:spPr>
          <a:xfrm>
            <a:off x="740645" y="1013024"/>
            <a:ext cx="11453330" cy="2357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关注价值的流动效率：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求交付周期、研发交付周期、变更前置时间、有效研发占比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…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关键点：</a:t>
            </a:r>
            <a:endParaRPr lang="en-US" altLang="zh-CN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批量持续交付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环节效率提升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减少环节间等待和浪费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优化工具效能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276113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258AACF3-0721-834D-842D-A87FE1E2D06F}"/>
              </a:ext>
            </a:extLst>
          </p:cNvPr>
          <p:cNvSpPr/>
          <p:nvPr/>
        </p:nvSpPr>
        <p:spPr>
          <a:xfrm>
            <a:off x="410845" y="1464711"/>
            <a:ext cx="4504690" cy="76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微软雅黑" charset="0"/>
                <a:ea typeface="微软雅黑" charset="0"/>
                <a:sym typeface="+mn-ea"/>
              </a:rPr>
              <a:t>报表分析</a:t>
            </a:r>
          </a:p>
          <a:p>
            <a:pPr indent="0">
              <a:buFont typeface="Arial" panose="020B0604020202090204" pitchFamily="34" charset="0"/>
              <a:buNone/>
            </a:pPr>
            <a:endParaRPr lang="zh-CN" altLang="en-US" sz="2200" dirty="0">
              <a:latin typeface="微软雅黑" charset="0"/>
              <a:ea typeface="微软雅黑" charset="0"/>
              <a:sym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3F07C80-7D08-C049-ABF4-D59B79EA9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030" y="2868061"/>
            <a:ext cx="2573020" cy="211455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0A9757D-05EF-BC4C-9F29-D3EA12BC57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3290" y="2868061"/>
            <a:ext cx="2628900" cy="16383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5C53810-9D49-DD4B-9A43-F75A9C19E9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63285" y="2821071"/>
            <a:ext cx="3352800" cy="28321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3615BA9-9794-3048-9A77-A13D309ECF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22130" y="2856631"/>
            <a:ext cx="2006600" cy="7366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DC021831-1BC6-EF4D-BB4A-CB1CB2CDB2B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48030" y="2061611"/>
            <a:ext cx="4342765" cy="406400"/>
          </a:xfrm>
          <a:prstGeom prst="rect">
            <a:avLst/>
          </a:prstGeom>
          <a:noFill/>
        </p:spPr>
        <p:txBody>
          <a:bodyPr wrap="square" rtlCol="0"/>
          <a:lstStyle/>
          <a:p>
            <a:pPr marL="342900" indent="-342900" algn="l">
              <a:buFont typeface="Arial" panose="020B0604020202090204" pitchFamily="34" charset="0"/>
              <a:buChar char="•"/>
            </a:pPr>
            <a:r>
              <a:rPr lang="en-US" altLang="zh-CN" spc="15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14</a:t>
            </a:r>
            <a:r>
              <a:rPr lang="zh-CN" altLang="en-US" spc="15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种报表类型（</a:t>
            </a:r>
            <a:r>
              <a:rPr lang="zh-CN" altLang="en-US" spc="15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  <a:hlinkClick r:id="rId7" action="ppaction://hlinkfile"/>
              </a:rPr>
              <a:t>使用说明</a:t>
            </a:r>
            <a:r>
              <a:rPr lang="zh-CN" altLang="en-US" spc="15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）</a:t>
            </a: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4D114E04-F643-F347-8406-C8D8633D4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kumimoji="1" lang="en-US" altLang="zh-CN" dirty="0"/>
              <a:t>4.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Icafe</a:t>
            </a:r>
            <a:r>
              <a:rPr kumimoji="1" lang="en-US" altLang="zh-CN" dirty="0"/>
              <a:t> </a:t>
            </a:r>
            <a:r>
              <a:rPr kumimoji="1" lang="zh-CN" altLang="en-US" dirty="0"/>
              <a:t>的落地使用</a:t>
            </a:r>
            <a:r>
              <a:rPr kumimoji="1" lang="en-US" altLang="zh-CN" sz="2000" dirty="0">
                <a:solidFill>
                  <a:schemeClr val="accent1"/>
                </a:solidFill>
              </a:rPr>
              <a:t>|</a:t>
            </a:r>
            <a:r>
              <a:rPr kumimoji="1" lang="zh-CN" altLang="en-US" sz="2000" dirty="0">
                <a:solidFill>
                  <a:schemeClr val="accent1"/>
                </a:solidFill>
              </a:rPr>
              <a:t> </a:t>
            </a:r>
            <a:r>
              <a:rPr kumimoji="1" lang="en-US" altLang="zh-CN" sz="2000" dirty="0">
                <a:solidFill>
                  <a:schemeClr val="accent1"/>
                </a:solidFill>
              </a:rPr>
              <a:t>4.7</a:t>
            </a:r>
            <a:r>
              <a:rPr kumimoji="1" lang="zh-CN" altLang="en-US" sz="2000" dirty="0">
                <a:solidFill>
                  <a:schemeClr val="accent1"/>
                </a:solidFill>
              </a:rPr>
              <a:t> 回顾</a:t>
            </a:r>
            <a:endParaRPr kumimoji="1"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9649734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6B1B352E-3E06-914D-AD3D-73C9A8ACA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138" y="2443163"/>
            <a:ext cx="10515600" cy="1304925"/>
          </a:xfrm>
        </p:spPr>
        <p:txBody>
          <a:bodyPr>
            <a:normAutofit/>
          </a:bodyPr>
          <a:lstStyle/>
          <a:p>
            <a:pPr algn="ctr"/>
            <a:r>
              <a:rPr kumimoji="1" lang="en-US" altLang="zh-CN" sz="7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Q</a:t>
            </a:r>
            <a:r>
              <a:rPr kumimoji="1" lang="zh-CN" altLang="en-US" sz="7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7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kumimoji="1" lang="zh-CN" altLang="en-US" sz="7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72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endParaRPr kumimoji="1" lang="zh-CN" altLang="en-US" sz="72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89531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1" name="Picture 1" descr="C:\Users\Administrator\Documents\Baidu\Baidu Hi\654Cbabdu\My Images\cc\cc03f22e2bcf0697410116b4d7f042e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79" y="3695565"/>
            <a:ext cx="10548982" cy="2737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B264FC2E-22BD-8746-B1B0-FE71E74CFF26}"/>
              </a:ext>
            </a:extLst>
          </p:cNvPr>
          <p:cNvSpPr txBox="1"/>
          <p:nvPr/>
        </p:nvSpPr>
        <p:spPr>
          <a:xfrm>
            <a:off x="601579" y="1112834"/>
            <a:ext cx="10548982" cy="2357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关注资源的生产效率：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人均交付需求数量，反映出团队交付价值的能力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关键点：</a:t>
            </a:r>
            <a:endParaRPr lang="en-US" altLang="zh-CN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批量持续交付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减少在制品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IP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避免大量长期未完成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降低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非研发任务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占比，优化协作流程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员工个人能力提升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32349480-A462-DD4C-94B2-65489A91A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1.</a:t>
            </a:r>
            <a:r>
              <a:rPr lang="zh-CN" altLang="en-US" dirty="0">
                <a:sym typeface="+mn-ea"/>
              </a:rPr>
              <a:t> 工程效能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提升工程效能的思路：落脚点</a:t>
            </a:r>
            <a:r>
              <a:rPr kumimoji="1" lang="en-US" altLang="zh-CN" sz="1800" dirty="0">
                <a:solidFill>
                  <a:schemeClr val="accent1"/>
                </a:solidFill>
                <a:sym typeface="+mn-ea"/>
              </a:rPr>
              <a:t>-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吞吐量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54362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071006" y="972909"/>
            <a:ext cx="10244716" cy="2726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关注质量和质量成本：</a:t>
            </a:r>
            <a:endParaRPr lang="en-US" altLang="zh-CN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线上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ug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、线下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bug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、低质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bug 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率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..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质量成本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=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D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投入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+QA 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投入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关键点：</a:t>
            </a:r>
            <a:endParaRPr lang="en-US" altLang="zh-CN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测试左移：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D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ode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eview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和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UT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适当的质量内建很必要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测试效率：测试自动化，环境构建，测试资源；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QA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职责是快速让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ug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暴露出来，速度优于全面；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关键卡点：准入、准出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90F4FD6-DE61-7D4C-93B1-AB231A2E8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007" y="3699361"/>
            <a:ext cx="10244716" cy="16510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CCE7DD9-0430-6D43-AD01-B9EDF96988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1006" y="5389447"/>
            <a:ext cx="4430222" cy="114035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E30CBC9-4985-D147-8115-8A395B9765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4850" y="5389447"/>
            <a:ext cx="4810872" cy="1140358"/>
          </a:xfrm>
          <a:prstGeom prst="rect">
            <a:avLst/>
          </a:prstGeom>
        </p:spPr>
      </p:pic>
      <p:sp>
        <p:nvSpPr>
          <p:cNvPr id="11" name="标题 1">
            <a:extLst>
              <a:ext uri="{FF2B5EF4-FFF2-40B4-BE49-F238E27FC236}">
                <a16:creationId xmlns:a16="http://schemas.microsoft.com/office/drawing/2014/main" id="{E805E4C1-CE5C-0746-A9FE-29B0D4897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1.</a:t>
            </a:r>
            <a:r>
              <a:rPr lang="zh-CN" altLang="en-US" dirty="0">
                <a:sym typeface="+mn-ea"/>
              </a:rPr>
              <a:t> 工程效能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提升工程效能的思路：保障因素</a:t>
            </a:r>
            <a:r>
              <a:rPr kumimoji="1" lang="en-US" altLang="zh-CN" sz="1800" dirty="0">
                <a:solidFill>
                  <a:schemeClr val="accent1"/>
                </a:solidFill>
                <a:sym typeface="+mn-ea"/>
              </a:rPr>
              <a:t>-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质量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0303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BB762EF2-267E-BC48-A216-0B4D2D65E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1.</a:t>
            </a:r>
            <a:r>
              <a:rPr lang="zh-CN" altLang="en-US" dirty="0">
                <a:sym typeface="+mn-ea"/>
              </a:rPr>
              <a:t> 工程效能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通过规范流程和工具，自动化的获取工程效能数据基线，驱动持续改进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6F55016-0E5B-8F47-A9D2-8352AA39BA3A}"/>
              </a:ext>
            </a:extLst>
          </p:cNvPr>
          <p:cNvSpPr/>
          <p:nvPr/>
        </p:nvSpPr>
        <p:spPr>
          <a:xfrm>
            <a:off x="352300" y="6377923"/>
            <a:ext cx="109292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研发规范快速入门手册：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3"/>
              </a:rPr>
              <a:t>http://wiki.baidu.com/pages/viewpage.action?pageId=1326690547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11F1A33A-1A34-DA4A-9A0E-6DD944D5C2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93" y="1005720"/>
            <a:ext cx="9049080" cy="5372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895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30E9BF81-FB5E-EE4A-AE38-A8FC62BAB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2.</a:t>
            </a:r>
            <a:r>
              <a:rPr lang="zh-CN" altLang="en-US" dirty="0">
                <a:sym typeface="+mn-ea"/>
              </a:rPr>
              <a:t> 敏捷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敏捷的来源和核心原则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270E248E-E3B3-0A40-AE79-3B10B861A0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3805" y="1207656"/>
            <a:ext cx="7850362" cy="5081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8891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30E9BF81-FB5E-EE4A-AE38-A8FC62BAB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2.</a:t>
            </a:r>
            <a:r>
              <a:rPr lang="zh-CN" altLang="en-US" dirty="0">
                <a:sym typeface="+mn-ea"/>
              </a:rPr>
              <a:t> 敏捷</a:t>
            </a:r>
            <a:r>
              <a:rPr kumimoji="1" lang="zh-CN" altLang="en-US" dirty="0">
                <a:solidFill>
                  <a:prstClr val="black"/>
                </a:solidFill>
                <a:sym typeface="+mn-ea"/>
              </a:rPr>
              <a:t>｜</a:t>
            </a:r>
            <a:r>
              <a:rPr kumimoji="1" lang="zh-CN" altLang="en-US" sz="1800" dirty="0">
                <a:solidFill>
                  <a:schemeClr val="accent1"/>
                </a:solidFill>
                <a:sym typeface="+mn-ea"/>
              </a:rPr>
              <a:t>敏捷和瀑布的区别</a:t>
            </a:r>
            <a:endParaRPr kumimoji="1" lang="zh-CN" altLang="en-US" dirty="0">
              <a:solidFill>
                <a:schemeClr val="accent1"/>
              </a:solidFill>
              <a:sym typeface="+mn-ea"/>
            </a:endParaRPr>
          </a:p>
        </p:txBody>
      </p:sp>
      <p:graphicFrame>
        <p:nvGraphicFramePr>
          <p:cNvPr id="4" name="图示 3">
            <a:extLst>
              <a:ext uri="{FF2B5EF4-FFF2-40B4-BE49-F238E27FC236}">
                <a16:creationId xmlns:a16="http://schemas.microsoft.com/office/drawing/2014/main" id="{57C4E5D6-044D-D941-A57B-60B1F43A8F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5561714"/>
              </p:ext>
            </p:extLst>
          </p:nvPr>
        </p:nvGraphicFramePr>
        <p:xfrm>
          <a:off x="882827" y="3574148"/>
          <a:ext cx="3155712" cy="2550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AB1971F7-6D66-9248-B459-8DCD6C46FD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8080676"/>
              </p:ext>
            </p:extLst>
          </p:nvPr>
        </p:nvGraphicFramePr>
        <p:xfrm>
          <a:off x="5055445" y="4043161"/>
          <a:ext cx="2246572" cy="18920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TextBox 2">
            <a:extLst>
              <a:ext uri="{FF2B5EF4-FFF2-40B4-BE49-F238E27FC236}">
                <a16:creationId xmlns:a16="http://schemas.microsoft.com/office/drawing/2014/main" id="{80DEB1DB-98FC-A848-9DE7-68BA8F7C073E}"/>
              </a:ext>
            </a:extLst>
          </p:cNvPr>
          <p:cNvSpPr txBox="1"/>
          <p:nvPr/>
        </p:nvSpPr>
        <p:spPr>
          <a:xfrm>
            <a:off x="7473280" y="4834297"/>
            <a:ext cx="1089627" cy="307472"/>
          </a:xfrm>
          <a:prstGeom prst="rect">
            <a:avLst/>
          </a:prstGeom>
          <a:noFill/>
        </p:spPr>
        <p:txBody>
          <a:bodyPr wrap="square" lIns="91138" tIns="45569" rIns="91138" bIns="45569" rtlCol="0">
            <a:spAutoFit/>
          </a:bodyPr>
          <a:lstStyle/>
          <a:p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……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21E20C9A-E1B8-054E-A73B-6597FEAB9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0049123"/>
              </p:ext>
            </p:extLst>
          </p:nvPr>
        </p:nvGraphicFramePr>
        <p:xfrm>
          <a:off x="882827" y="1471961"/>
          <a:ext cx="10483033" cy="1301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8" name="图示 7">
            <a:extLst>
              <a:ext uri="{FF2B5EF4-FFF2-40B4-BE49-F238E27FC236}">
                <a16:creationId xmlns:a16="http://schemas.microsoft.com/office/drawing/2014/main" id="{3D0DB2C2-A004-E845-B1BE-12DE58C32F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1959213"/>
              </p:ext>
            </p:extLst>
          </p:nvPr>
        </p:nvGraphicFramePr>
        <p:xfrm>
          <a:off x="8724293" y="4044801"/>
          <a:ext cx="2246572" cy="18920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</p:spTree>
    <p:extLst>
      <p:ext uri="{BB962C8B-B14F-4D97-AF65-F5344CB8AC3E}">
        <p14:creationId xmlns:p14="http://schemas.microsoft.com/office/powerpoint/2010/main" val="1658260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5" grpId="0">
        <p:bldAsOne/>
      </p:bldGraphic>
      <p:bldP spid="6" grpId="0"/>
      <p:bldGraphic spid="8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23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a"/>
  <p:tag name="KSO_WM_UNIT_INDEX" val="1"/>
  <p:tag name="KSO_WM_UNIT_ID" val="custom20191224_11*a*1"/>
  <p:tag name="KSO_WM_TEMPLATE_CATEGORY" val="custom"/>
  <p:tag name="KSO_WM_TEMPLATE_INDEX" val="20191224"/>
  <p:tag name="KSO_WM_UNIT_LAYERLEVEL" val="1"/>
  <p:tag name="KSO_WM_TAG_VERSION" val="1.0"/>
  <p:tag name="KSO_WM_BEAUTIFY_FLAG" val="#wm#"/>
  <p:tag name="KSO_WM_UNIT_PRESET_TEXT" val="流程规划"/>
  <p:tag name="KSO_WM_UNIT_TEXT_FILL_FORE_SCHEMECOLOR_INDEX" val="13"/>
  <p:tag name="KSO_WM_UNIT_TEXT_FILL_TYPE" val="1"/>
  <p:tag name="KSO_WM_UNIT_USESOURCEFORMAT_APPLY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23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a"/>
  <p:tag name="KSO_WM_UNIT_INDEX" val="1"/>
  <p:tag name="KSO_WM_UNIT_ID" val="custom20191224_11*a*1"/>
  <p:tag name="KSO_WM_TEMPLATE_CATEGORY" val="custom"/>
  <p:tag name="KSO_WM_TEMPLATE_INDEX" val="20191224"/>
  <p:tag name="KSO_WM_UNIT_LAYERLEVEL" val="1"/>
  <p:tag name="KSO_WM_TAG_VERSION" val="1.0"/>
  <p:tag name="KSO_WM_BEAUTIFY_FLAG" val="#wm#"/>
  <p:tag name="KSO_WM_UNIT_PRESET_TEXT" val="流程规划"/>
  <p:tag name="KSO_WM_UNIT_TEXT_FILL_FORE_SCHEMECOLOR_INDEX" val="13"/>
  <p:tag name="KSO_WM_UNIT_TEXT_FILL_TYPE" val="1"/>
  <p:tag name="KSO_WM_UNIT_USESOURCEFORMAT_APPLY" val="1"/>
</p:tagLst>
</file>

<file path=ppt/theme/theme1.xml><?xml version="1.0" encoding="utf-8"?>
<a:theme xmlns:a="http://schemas.openxmlformats.org/drawingml/2006/main" name="webwppDef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601</TotalTime>
  <Words>3915</Words>
  <Application>Microsoft Macintosh PowerPoint</Application>
  <PresentationFormat>宽屏</PresentationFormat>
  <Paragraphs>631</Paragraphs>
  <Slides>41</Slides>
  <Notes>3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1</vt:i4>
      </vt:variant>
    </vt:vector>
  </HeadingPairs>
  <TitlesOfParts>
    <vt:vector size="52" baseType="lpstr">
      <vt:lpstr>等线</vt:lpstr>
      <vt:lpstr>等线 Light</vt:lpstr>
      <vt:lpstr>宋体</vt:lpstr>
      <vt:lpstr>Microsoft YaHei</vt:lpstr>
      <vt:lpstr>Microsoft YaHei</vt:lpstr>
      <vt:lpstr>Arial</vt:lpstr>
      <vt:lpstr>Helvetica</vt:lpstr>
      <vt:lpstr>Wingdings</vt:lpstr>
      <vt:lpstr>webwppDefTheme</vt:lpstr>
      <vt:lpstr>Office 主题​​</vt:lpstr>
      <vt:lpstr>think-cell Slide</vt:lpstr>
      <vt:lpstr>工程效能提升： 敏捷实践应用分享</vt:lpstr>
      <vt:lpstr>目录</vt:lpstr>
      <vt:lpstr>1. 工程效能|定义、目标和意义</vt:lpstr>
      <vt:lpstr>1. 工程效能｜提升工程效能的思路：落脚点-速度</vt:lpstr>
      <vt:lpstr>1. 工程效能｜提升工程效能的思路：落脚点-吞吐量</vt:lpstr>
      <vt:lpstr>1. 工程效能｜提升工程效能的思路：保障因素-质量</vt:lpstr>
      <vt:lpstr>1. 工程效能｜通过规范流程和工具，自动化的获取工程效能数据基线，驱动持续改进</vt:lpstr>
      <vt:lpstr>2. 敏捷｜敏捷的来源和核心原则</vt:lpstr>
      <vt:lpstr>2. 敏捷｜敏捷和瀑布的区别</vt:lpstr>
      <vt:lpstr>2. 敏捷｜常见的敏捷实践</vt:lpstr>
      <vt:lpstr>3. 敏捷实践｜Scrum框架：角色和流程</vt:lpstr>
      <vt:lpstr>3. 敏捷实践｜ Scrum框架：落地应用</vt:lpstr>
      <vt:lpstr>3.1 建立 Scrum Team｜按产品组建跨角色的特性团队</vt:lpstr>
      <vt:lpstr>PowerPoint 演示文稿</vt:lpstr>
      <vt:lpstr>3.2 产品Backlog准备| 需求拆分：聚焦用户价值，迭代增量发布，快速获取反馈</vt:lpstr>
      <vt:lpstr>3.2 产品Backlog准备| 根据需求特点，选择合适的方法进行story拆分</vt:lpstr>
      <vt:lpstr>3.2 产品Backlog准备| 优先级排序，保持业务灵活性</vt:lpstr>
      <vt:lpstr>3.3 双周迭代| 为什么要做迭代？</vt:lpstr>
      <vt:lpstr>3.3 双周迭代| 迭代计划-&gt;迭代开发&amp;测试-&gt;Show Case-&gt;Retro</vt:lpstr>
      <vt:lpstr>3.3 双周迭代| 迭代计划-&gt;迭代开发&amp;测试-&gt;Show Case-&gt;Retro</vt:lpstr>
      <vt:lpstr>3.3 双周迭代| 迭代计划-&gt;迭代开发&amp;测试-&gt;Show Case-&gt;Retro</vt:lpstr>
      <vt:lpstr>3.3 双周迭代| 迭代计划-&gt;迭代开发&amp;测试-&gt;Show Case-&gt;Retro</vt:lpstr>
      <vt:lpstr>3.3 双周迭代| 迭代计划-&gt;迭代开发&amp;测试-&gt;Show Case-&gt;Retro</vt:lpstr>
      <vt:lpstr>3.3 双周迭代| 迭代计划-&gt;迭代开发&amp;测试-&gt;Show Case-&gt;Retro</vt:lpstr>
      <vt:lpstr>3.3 双周迭代| 迭代计划-&gt;迭代开发&amp;测试-&gt;Show Case-&gt;Retro</vt:lpstr>
      <vt:lpstr>3.3 双周迭代| 迭代计划-&gt;迭代开发&amp;测试-&gt;Show Case-&gt;Retro</vt:lpstr>
      <vt:lpstr>3.4 常见问题| 需求有效性：多轮需求澄清和验证，确保核心需求收益达成</vt:lpstr>
      <vt:lpstr>3.4 常见问题| 需求变更：分析变更的原因，预防不必要的变更，合理应对必要的变更</vt:lpstr>
      <vt:lpstr>4. Icafe 的落地使用| 4.1 整体功能介绍</vt:lpstr>
      <vt:lpstr>4. Icafe 的落地使用| 4.2 空间配置-卡片类型及字段配置</vt:lpstr>
      <vt:lpstr>4. Icafe 的落地使用| 4.2 空间配置-工作流配置</vt:lpstr>
      <vt:lpstr>4. Icafe 的落地使用| 4.2 空间配置-状态自动流转</vt:lpstr>
      <vt:lpstr>4. Icafe 的落地使用| 4.2 空间配置-设置需求模板</vt:lpstr>
      <vt:lpstr>4. Icafe 的落地使用| 4.2 空间配置-级联配置</vt:lpstr>
      <vt:lpstr>4. Icafe 的落地使用| 4.2 空间配置-消息规则</vt:lpstr>
      <vt:lpstr>4. Icafe 的落地使用| 4.3 产品规划</vt:lpstr>
      <vt:lpstr>4. Icafe 的落地使用| 4.4 迭代计划</vt:lpstr>
      <vt:lpstr>4. Icafe 的落地使用| 4.5 迭代执行</vt:lpstr>
      <vt:lpstr>4. Icafe 的落地使用| 4.6 迭代演示</vt:lpstr>
      <vt:lpstr>4. Icafe 的落地使用| 4.7 回顾</vt:lpstr>
      <vt:lpstr>Q &amp; 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R to B 项目效能提升  2021年2月  </dc:title>
  <dc:creator>Bai,Wei</dc:creator>
  <cp:lastModifiedBy>陈 潜</cp:lastModifiedBy>
  <cp:revision>248</cp:revision>
  <cp:lastPrinted>2021-03-05T08:04:14Z</cp:lastPrinted>
  <dcterms:created xsi:type="dcterms:W3CDTF">2021-03-03T09:21:31Z</dcterms:created>
  <dcterms:modified xsi:type="dcterms:W3CDTF">2022-11-02T06:1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0.0.0.0</vt:lpwstr>
  </property>
</Properties>
</file>